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35"/>
  </p:notesMasterIdLst>
  <p:sldIdLst>
    <p:sldId id="4562" r:id="rId3"/>
    <p:sldId id="4563" r:id="rId4"/>
    <p:sldId id="4564" r:id="rId5"/>
    <p:sldId id="4565" r:id="rId6"/>
    <p:sldId id="4566" r:id="rId7"/>
    <p:sldId id="4567" r:id="rId8"/>
    <p:sldId id="4568" r:id="rId9"/>
    <p:sldId id="4569" r:id="rId10"/>
    <p:sldId id="4570" r:id="rId11"/>
    <p:sldId id="4571" r:id="rId12"/>
    <p:sldId id="4572" r:id="rId13"/>
    <p:sldId id="4573" r:id="rId14"/>
    <p:sldId id="4574" r:id="rId15"/>
    <p:sldId id="4575" r:id="rId16"/>
    <p:sldId id="4576" r:id="rId17"/>
    <p:sldId id="4577" r:id="rId18"/>
    <p:sldId id="4578" r:id="rId19"/>
    <p:sldId id="4579" r:id="rId20"/>
    <p:sldId id="4580" r:id="rId21"/>
    <p:sldId id="4581" r:id="rId22"/>
    <p:sldId id="4582" r:id="rId23"/>
    <p:sldId id="4583" r:id="rId24"/>
    <p:sldId id="4584" r:id="rId25"/>
    <p:sldId id="4585" r:id="rId26"/>
    <p:sldId id="4586" r:id="rId27"/>
    <p:sldId id="4587" r:id="rId28"/>
    <p:sldId id="4588" r:id="rId29"/>
    <p:sldId id="4589" r:id="rId30"/>
    <p:sldId id="4590" r:id="rId31"/>
    <p:sldId id="4591" r:id="rId32"/>
    <p:sldId id="4592" r:id="rId33"/>
    <p:sldId id="4593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4472C4"/>
    <a:srgbClr val="EB4B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3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12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981</c:v>
                </c:pt>
                <c:pt idx="1">
                  <c:v>973</c:v>
                </c:pt>
                <c:pt idx="2">
                  <c:v>968</c:v>
                </c:pt>
                <c:pt idx="3">
                  <c:v>938</c:v>
                </c:pt>
                <c:pt idx="4">
                  <c:v>965</c:v>
                </c:pt>
                <c:pt idx="5">
                  <c:v>987</c:v>
                </c:pt>
                <c:pt idx="6">
                  <c:v>994</c:v>
                </c:pt>
                <c:pt idx="7">
                  <c:v>993</c:v>
                </c:pt>
                <c:pt idx="8">
                  <c:v>1004</c:v>
                </c:pt>
                <c:pt idx="9">
                  <c:v>974</c:v>
                </c:pt>
                <c:pt idx="10">
                  <c:v>954</c:v>
                </c:pt>
                <c:pt idx="11">
                  <c:v>970</c:v>
                </c:pt>
                <c:pt idx="12">
                  <c:v>989</c:v>
                </c:pt>
                <c:pt idx="13">
                  <c:v>963</c:v>
                </c:pt>
                <c:pt idx="14">
                  <c:v>929</c:v>
                </c:pt>
                <c:pt idx="15">
                  <c:v>878</c:v>
                </c:pt>
                <c:pt idx="16">
                  <c:v>859</c:v>
                </c:pt>
                <c:pt idx="17">
                  <c:v>802</c:v>
                </c:pt>
                <c:pt idx="18">
                  <c:v>808</c:v>
                </c:pt>
                <c:pt idx="19">
                  <c:v>866</c:v>
                </c:pt>
                <c:pt idx="20">
                  <c:v>854</c:v>
                </c:pt>
                <c:pt idx="21">
                  <c:v>810</c:v>
                </c:pt>
                <c:pt idx="22">
                  <c:v>765</c:v>
                </c:pt>
                <c:pt idx="23">
                  <c:v>697</c:v>
                </c:pt>
                <c:pt idx="24">
                  <c:v>683</c:v>
                </c:pt>
                <c:pt idx="25">
                  <c:v>699</c:v>
                </c:pt>
                <c:pt idx="26">
                  <c:v>727</c:v>
                </c:pt>
                <c:pt idx="27">
                  <c:v>707</c:v>
                </c:pt>
                <c:pt idx="28">
                  <c:v>690</c:v>
                </c:pt>
                <c:pt idx="29">
                  <c:v>644</c:v>
                </c:pt>
                <c:pt idx="30">
                  <c:v>616</c:v>
                </c:pt>
                <c:pt idx="31">
                  <c:v>595</c:v>
                </c:pt>
                <c:pt idx="32">
                  <c:v>586</c:v>
                </c:pt>
                <c:pt idx="33">
                  <c:v>575</c:v>
                </c:pt>
                <c:pt idx="34">
                  <c:v>561</c:v>
                </c:pt>
                <c:pt idx="35">
                  <c:v>533</c:v>
                </c:pt>
                <c:pt idx="36">
                  <c:v>536</c:v>
                </c:pt>
                <c:pt idx="37">
                  <c:v>504</c:v>
                </c:pt>
                <c:pt idx="38">
                  <c:v>487</c:v>
                </c:pt>
                <c:pt idx="39">
                  <c:v>473</c:v>
                </c:pt>
                <c:pt idx="40">
                  <c:v>491</c:v>
                </c:pt>
                <c:pt idx="41">
                  <c:v>459</c:v>
                </c:pt>
                <c:pt idx="42">
                  <c:v>416</c:v>
                </c:pt>
                <c:pt idx="43">
                  <c:v>386</c:v>
                </c:pt>
                <c:pt idx="44">
                  <c:v>357</c:v>
                </c:pt>
                <c:pt idx="45">
                  <c:v>338</c:v>
                </c:pt>
                <c:pt idx="46">
                  <c:v>333</c:v>
                </c:pt>
                <c:pt idx="47">
                  <c:v>334</c:v>
                </c:pt>
                <c:pt idx="48">
                  <c:v>307</c:v>
                </c:pt>
                <c:pt idx="49">
                  <c:v>295</c:v>
                </c:pt>
                <c:pt idx="50">
                  <c:v>272</c:v>
                </c:pt>
                <c:pt idx="51">
                  <c:v>262</c:v>
                </c:pt>
                <c:pt idx="52">
                  <c:v>275</c:v>
                </c:pt>
                <c:pt idx="53">
                  <c:v>269</c:v>
                </c:pt>
                <c:pt idx="54">
                  <c:v>267</c:v>
                </c:pt>
                <c:pt idx="55">
                  <c:v>270</c:v>
                </c:pt>
                <c:pt idx="56">
                  <c:v>257</c:v>
                </c:pt>
                <c:pt idx="57">
                  <c:v>269</c:v>
                </c:pt>
                <c:pt idx="58">
                  <c:v>276</c:v>
                </c:pt>
                <c:pt idx="59">
                  <c:v>276</c:v>
                </c:pt>
                <c:pt idx="60">
                  <c:v>299</c:v>
                </c:pt>
                <c:pt idx="61">
                  <c:v>313</c:v>
                </c:pt>
                <c:pt idx="62">
                  <c:v>324</c:v>
                </c:pt>
                <c:pt idx="63">
                  <c:v>331</c:v>
                </c:pt>
                <c:pt idx="64">
                  <c:v>300</c:v>
                </c:pt>
                <c:pt idx="65">
                  <c:v>305</c:v>
                </c:pt>
                <c:pt idx="66">
                  <c:v>328</c:v>
                </c:pt>
                <c:pt idx="67">
                  <c:v>344</c:v>
                </c:pt>
                <c:pt idx="68">
                  <c:v>354</c:v>
                </c:pt>
                <c:pt idx="69">
                  <c:v>358</c:v>
                </c:pt>
                <c:pt idx="70">
                  <c:v>381</c:v>
                </c:pt>
                <c:pt idx="71">
                  <c:v>377</c:v>
                </c:pt>
                <c:pt idx="72">
                  <c:v>390</c:v>
                </c:pt>
                <c:pt idx="73">
                  <c:v>373</c:v>
                </c:pt>
                <c:pt idx="74">
                  <c:v>374</c:v>
                </c:pt>
                <c:pt idx="75">
                  <c:v>396</c:v>
                </c:pt>
                <c:pt idx="76">
                  <c:v>412</c:v>
                </c:pt>
                <c:pt idx="77">
                  <c:v>395</c:v>
                </c:pt>
                <c:pt idx="78">
                  <c:v>377</c:v>
                </c:pt>
                <c:pt idx="79">
                  <c:v>359</c:v>
                </c:pt>
                <c:pt idx="80">
                  <c:v>350</c:v>
                </c:pt>
                <c:pt idx="81">
                  <c:v>363</c:v>
                </c:pt>
                <c:pt idx="82">
                  <c:v>379</c:v>
                </c:pt>
                <c:pt idx="83">
                  <c:v>363</c:v>
                </c:pt>
                <c:pt idx="84">
                  <c:v>370</c:v>
                </c:pt>
                <c:pt idx="85">
                  <c:v>365</c:v>
                </c:pt>
                <c:pt idx="86">
                  <c:v>323</c:v>
                </c:pt>
                <c:pt idx="87">
                  <c:v>310</c:v>
                </c:pt>
                <c:pt idx="88">
                  <c:v>318</c:v>
                </c:pt>
                <c:pt idx="89">
                  <c:v>315</c:v>
                </c:pt>
                <c:pt idx="90">
                  <c:v>304</c:v>
                </c:pt>
                <c:pt idx="91">
                  <c:v>278</c:v>
                </c:pt>
                <c:pt idx="92">
                  <c:v>253</c:v>
                </c:pt>
                <c:pt idx="93">
                  <c:v>2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31.06870896275336</c:v>
                </c:pt>
                <c:pt idx="32">
                  <c:v>512.48677650420518</c:v>
                </c:pt>
                <c:pt idx="33">
                  <c:v>494.24929442182855</c:v>
                </c:pt>
                <c:pt idx="34">
                  <c:v>476.37166385925991</c:v>
                </c:pt>
                <c:pt idx="35">
                  <c:v>458.86700243556277</c:v>
                </c:pt>
                <c:pt idx="36">
                  <c:v>442.24450407417885</c:v>
                </c:pt>
                <c:pt idx="37">
                  <c:v>425.9789175497458</c:v>
                </c:pt>
                <c:pt idx="38">
                  <c:v>410.07925837795983</c:v>
                </c:pt>
                <c:pt idx="39">
                  <c:v>394.55301338654505</c:v>
                </c:pt>
                <c:pt idx="40">
                  <c:v>379.40666655287828</c:v>
                </c:pt>
                <c:pt idx="41">
                  <c:v>364.938081911832</c:v>
                </c:pt>
                <c:pt idx="42">
                  <c:v>351.34880160323451</c:v>
                </c:pt>
                <c:pt idx="43">
                  <c:v>338.73424300405543</c:v>
                </c:pt>
                <c:pt idx="44">
                  <c:v>327.12505919583464</c:v>
                </c:pt>
                <c:pt idx="45">
                  <c:v>316.51603557659615</c:v>
                </c:pt>
                <c:pt idx="46">
                  <c:v>306.8823202417754</c:v>
                </c:pt>
                <c:pt idx="47">
                  <c:v>298.18796656555611</c:v>
                </c:pt>
                <c:pt idx="48">
                  <c:v>290.38750420492232</c:v>
                </c:pt>
                <c:pt idx="49">
                  <c:v>283.42800118808822</c:v>
                </c:pt>
                <c:pt idx="50">
                  <c:v>277.24938634024738</c:v>
                </c:pt>
                <c:pt idx="51">
                  <c:v>271.7901239807095</c:v>
                </c:pt>
                <c:pt idx="52">
                  <c:v>266.9864776554283</c:v>
                </c:pt>
                <c:pt idx="53">
                  <c:v>262.77569759856374</c:v>
                </c:pt>
                <c:pt idx="54">
                  <c:v>259.09802764894295</c:v>
                </c:pt>
                <c:pt idx="55">
                  <c:v>255.89037397781516</c:v>
                </c:pt>
                <c:pt idx="56">
                  <c:v>253.07832081749058</c:v>
                </c:pt>
                <c:pt idx="57">
                  <c:v>250.58794500798206</c:v>
                </c:pt>
                <c:pt idx="58">
                  <c:v>248.3552549320971</c:v>
                </c:pt>
                <c:pt idx="59">
                  <c:v>246.32640922790671</c:v>
                </c:pt>
                <c:pt idx="60">
                  <c:v>244.45579039767617</c:v>
                </c:pt>
                <c:pt idx="61">
                  <c:v>242.70466204899367</c:v>
                </c:pt>
                <c:pt idx="62">
                  <c:v>241.03963019050209</c:v>
                </c:pt>
                <c:pt idx="63">
                  <c:v>239.4299293624334</c:v>
                </c:pt>
                <c:pt idx="64">
                  <c:v>237.84872641330512</c:v>
                </c:pt>
                <c:pt idx="65">
                  <c:v>236.2741715915362</c:v>
                </c:pt>
                <c:pt idx="66">
                  <c:v>234.68829421478921</c:v>
                </c:pt>
                <c:pt idx="67">
                  <c:v>233.07733613393634</c:v>
                </c:pt>
                <c:pt idx="68">
                  <c:v>231.43082296500617</c:v>
                </c:pt>
                <c:pt idx="69">
                  <c:v>229.74084137336703</c:v>
                </c:pt>
                <c:pt idx="70">
                  <c:v>228.00198730637354</c:v>
                </c:pt>
                <c:pt idx="71">
                  <c:v>226.21086589821056</c:v>
                </c:pt>
                <c:pt idx="72">
                  <c:v>224.36571321938723</c:v>
                </c:pt>
                <c:pt idx="73">
                  <c:v>222.4658503920075</c:v>
                </c:pt>
                <c:pt idx="74">
                  <c:v>220.5116202322296</c:v>
                </c:pt>
                <c:pt idx="75">
                  <c:v>218.50452102336342</c:v>
                </c:pt>
                <c:pt idx="76">
                  <c:v>216.44687437049802</c:v>
                </c:pt>
                <c:pt idx="77">
                  <c:v>214.34142802903094</c:v>
                </c:pt>
                <c:pt idx="78">
                  <c:v>212.19086839279984</c:v>
                </c:pt>
                <c:pt idx="79">
                  <c:v>209.99792514232479</c:v>
                </c:pt>
                <c:pt idx="80">
                  <c:v>207.76523812347352</c:v>
                </c:pt>
                <c:pt idx="81">
                  <c:v>205.49582505782104</c:v>
                </c:pt>
                <c:pt idx="82">
                  <c:v>203.19294493118213</c:v>
                </c:pt>
                <c:pt idx="83">
                  <c:v>200.85983847160608</c:v>
                </c:pt>
                <c:pt idx="84">
                  <c:v>198.49975900670705</c:v>
                </c:pt>
                <c:pt idx="85">
                  <c:v>196.11586997172475</c:v>
                </c:pt>
                <c:pt idx="86">
                  <c:v>193.71120054450739</c:v>
                </c:pt>
                <c:pt idx="87">
                  <c:v>191.28864240225809</c:v>
                </c:pt>
                <c:pt idx="88">
                  <c:v>188.8509490408573</c:v>
                </c:pt>
                <c:pt idx="89">
                  <c:v>186.40062455208681</c:v>
                </c:pt>
                <c:pt idx="90">
                  <c:v>183.94005855634848</c:v>
                </c:pt>
                <c:pt idx="91">
                  <c:v>181.47153727936436</c:v>
                </c:pt>
                <c:pt idx="92">
                  <c:v>178.99722519194012</c:v>
                </c:pt>
                <c:pt idx="93">
                  <c:v>176.519156359678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31.06870896275336</c:v>
                </c:pt>
                <c:pt idx="32">
                  <c:v>512.48677650420518</c:v>
                </c:pt>
                <c:pt idx="33">
                  <c:v>494.24929442182855</c:v>
                </c:pt>
                <c:pt idx="34">
                  <c:v>477.37053773839199</c:v>
                </c:pt>
                <c:pt idx="35">
                  <c:v>462.53542294430656</c:v>
                </c:pt>
                <c:pt idx="36">
                  <c:v>450.60270381070836</c:v>
                </c:pt>
                <c:pt idx="37">
                  <c:v>438.66998467711016</c:v>
                </c:pt>
                <c:pt idx="38">
                  <c:v>435.27895105832749</c:v>
                </c:pt>
                <c:pt idx="39">
                  <c:v>433.2074197490623</c:v>
                </c:pt>
                <c:pt idx="40">
                  <c:v>432.45429341146553</c:v>
                </c:pt>
                <c:pt idx="41">
                  <c:v>433.00443577515478</c:v>
                </c:pt>
                <c:pt idx="42">
                  <c:v>434.83046847752144</c:v>
                </c:pt>
                <c:pt idx="43">
                  <c:v>437.8921106350216</c:v>
                </c:pt>
                <c:pt idx="44">
                  <c:v>442.14458320151539</c:v>
                </c:pt>
                <c:pt idx="45">
                  <c:v>447.53617259959219</c:v>
                </c:pt>
                <c:pt idx="46">
                  <c:v>454.01290135544656</c:v>
                </c:pt>
                <c:pt idx="47">
                  <c:v>461.52129772574364</c:v>
                </c:pt>
                <c:pt idx="48">
                  <c:v>469.99709869648018</c:v>
                </c:pt>
                <c:pt idx="49">
                  <c:v>479.35109716123088</c:v>
                </c:pt>
                <c:pt idx="50">
                  <c:v>489.48890230546465</c:v>
                </c:pt>
                <c:pt idx="51">
                  <c:v>500.3262436250734</c:v>
                </c:pt>
                <c:pt idx="52">
                  <c:v>511.78871942463343</c:v>
                </c:pt>
                <c:pt idx="53">
                  <c:v>523.80848358831668</c:v>
                </c:pt>
                <c:pt idx="54">
                  <c:v>536.32226071269326</c:v>
                </c:pt>
                <c:pt idx="55">
                  <c:v>549.26910456790927</c:v>
                </c:pt>
                <c:pt idx="56">
                  <c:v>562.58614851116386</c:v>
                </c:pt>
                <c:pt idx="57">
                  <c:v>576.2111433267205</c:v>
                </c:pt>
                <c:pt idx="58">
                  <c:v>590.08451442299463</c:v>
                </c:pt>
                <c:pt idx="59">
                  <c:v>604.14769873635271</c:v>
                </c:pt>
                <c:pt idx="60">
                  <c:v>618.34411745415775</c:v>
                </c:pt>
                <c:pt idx="61">
                  <c:v>632.61799305079478</c:v>
                </c:pt>
                <c:pt idx="62">
                  <c:v>646.91355041596341</c:v>
                </c:pt>
                <c:pt idx="63">
                  <c:v>661.17393721358542</c:v>
                </c:pt>
                <c:pt idx="64">
                  <c:v>675.34123453319864</c:v>
                </c:pt>
                <c:pt idx="65">
                  <c:v>689.35681760836599</c:v>
                </c:pt>
                <c:pt idx="66">
                  <c:v>703.16114192840598</c:v>
                </c:pt>
                <c:pt idx="67">
                  <c:v>716.69426974540977</c:v>
                </c:pt>
                <c:pt idx="68">
                  <c:v>729.89670431121147</c:v>
                </c:pt>
                <c:pt idx="69">
                  <c:v>742.70940953980551</c:v>
                </c:pt>
                <c:pt idx="70">
                  <c:v>755.07662017944892</c:v>
                </c:pt>
                <c:pt idx="71">
                  <c:v>766.94483402553067</c:v>
                </c:pt>
                <c:pt idx="72">
                  <c:v>778.26275542405881</c:v>
                </c:pt>
                <c:pt idx="73">
                  <c:v>788.98112241132196</c:v>
                </c:pt>
                <c:pt idx="74">
                  <c:v>799.05378950775764</c:v>
                </c:pt>
                <c:pt idx="75">
                  <c:v>808.43782936648483</c:v>
                </c:pt>
                <c:pt idx="76">
                  <c:v>817.09346844678169</c:v>
                </c:pt>
                <c:pt idx="77">
                  <c:v>824.98448886958124</c:v>
                </c:pt>
                <c:pt idx="78">
                  <c:v>832.07840709431014</c:v>
                </c:pt>
                <c:pt idx="79">
                  <c:v>838.34664705366743</c:v>
                </c:pt>
                <c:pt idx="80">
                  <c:v>843.76474526963818</c:v>
                </c:pt>
                <c:pt idx="81">
                  <c:v>848.31250239205553</c:v>
                </c:pt>
                <c:pt idx="82">
                  <c:v>851.97394287164423</c:v>
                </c:pt>
                <c:pt idx="83">
                  <c:v>854.73764698290063</c:v>
                </c:pt>
                <c:pt idx="84">
                  <c:v>856.59677251681785</c:v>
                </c:pt>
                <c:pt idx="85">
                  <c:v>857.54891908114666</c:v>
                </c:pt>
                <c:pt idx="86">
                  <c:v>857.59605867779453</c:v>
                </c:pt>
                <c:pt idx="87">
                  <c:v>856.74452446774796</c:v>
                </c:pt>
                <c:pt idx="88">
                  <c:v>855.00495316437593</c:v>
                </c:pt>
                <c:pt idx="89">
                  <c:v>852.39218225796901</c:v>
                </c:pt>
                <c:pt idx="90">
                  <c:v>848.92509911500349</c:v>
                </c:pt>
                <c:pt idx="91">
                  <c:v>844.6264462850321</c:v>
                </c:pt>
                <c:pt idx="92">
                  <c:v>839.52256114981844</c:v>
                </c:pt>
                <c:pt idx="93">
                  <c:v>833.64310828422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31.06870896275336</c:v>
                </c:pt>
                <c:pt idx="32">
                  <c:v>512.48677650420518</c:v>
                </c:pt>
                <c:pt idx="33">
                  <c:v>494.24929442182855</c:v>
                </c:pt>
                <c:pt idx="34">
                  <c:v>477.37053773839199</c:v>
                </c:pt>
                <c:pt idx="35">
                  <c:v>462.53542294430656</c:v>
                </c:pt>
                <c:pt idx="36">
                  <c:v>450.60270381070836</c:v>
                </c:pt>
                <c:pt idx="37">
                  <c:v>441.20743624266157</c:v>
                </c:pt>
                <c:pt idx="38">
                  <c:v>434.42536900509612</c:v>
                </c:pt>
                <c:pt idx="39">
                  <c:v>430.28230638656566</c:v>
                </c:pt>
                <c:pt idx="40">
                  <c:v>428.7760537113723</c:v>
                </c:pt>
                <c:pt idx="41">
                  <c:v>429.87633843875085</c:v>
                </c:pt>
                <c:pt idx="42">
                  <c:v>433.52840384348417</c:v>
                </c:pt>
                <c:pt idx="43">
                  <c:v>439.65168815848443</c:v>
                </c:pt>
                <c:pt idx="44">
                  <c:v>448.15663329147196</c:v>
                </c:pt>
                <c:pt idx="45">
                  <c:v>458.93981208762546</c:v>
                </c:pt>
                <c:pt idx="46">
                  <c:v>471.89326959933436</c:v>
                </c:pt>
                <c:pt idx="47">
                  <c:v>486.91006233992852</c:v>
                </c:pt>
                <c:pt idx="48">
                  <c:v>503.8616642814016</c:v>
                </c:pt>
                <c:pt idx="49">
                  <c:v>522.56966121090295</c:v>
                </c:pt>
                <c:pt idx="50">
                  <c:v>542.8452714993706</c:v>
                </c:pt>
                <c:pt idx="51">
                  <c:v>564.5199541385881</c:v>
                </c:pt>
                <c:pt idx="52">
                  <c:v>587.44490573770793</c:v>
                </c:pt>
                <c:pt idx="53">
                  <c:v>611.48443406507454</c:v>
                </c:pt>
                <c:pt idx="54">
                  <c:v>636.51198831382749</c:v>
                </c:pt>
                <c:pt idx="55">
                  <c:v>662.40567602425949</c:v>
                </c:pt>
                <c:pt idx="56">
                  <c:v>689.0397639107689</c:v>
                </c:pt>
                <c:pt idx="57">
                  <c:v>716.28975354188231</c:v>
                </c:pt>
                <c:pt idx="58">
                  <c:v>744.03649573443045</c:v>
                </c:pt>
                <c:pt idx="59">
                  <c:v>772.16286436114649</c:v>
                </c:pt>
                <c:pt idx="60">
                  <c:v>800.55570179675692</c:v>
                </c:pt>
                <c:pt idx="61">
                  <c:v>829.10345299003075</c:v>
                </c:pt>
                <c:pt idx="62">
                  <c:v>857.69456772036813</c:v>
                </c:pt>
                <c:pt idx="63">
                  <c:v>886.21534131561202</c:v>
                </c:pt>
                <c:pt idx="64">
                  <c:v>914.54993595483825</c:v>
                </c:pt>
                <c:pt idx="65">
                  <c:v>942.58110210517293</c:v>
                </c:pt>
                <c:pt idx="66">
                  <c:v>970.18975074525304</c:v>
                </c:pt>
                <c:pt idx="67">
                  <c:v>997.25600637926061</c:v>
                </c:pt>
                <c:pt idx="68">
                  <c:v>1023.6608755108638</c:v>
                </c:pt>
                <c:pt idx="69">
                  <c:v>1049.2862859680522</c:v>
                </c:pt>
                <c:pt idx="70">
                  <c:v>1074.0207072473386</c:v>
                </c:pt>
                <c:pt idx="71">
                  <c:v>1097.7571349395025</c:v>
                </c:pt>
                <c:pt idx="72">
                  <c:v>1120.392977736559</c:v>
                </c:pt>
                <c:pt idx="73">
                  <c:v>1141.8297117110851</c:v>
                </c:pt>
                <c:pt idx="74">
                  <c:v>1161.9750459039567</c:v>
                </c:pt>
                <c:pt idx="75">
                  <c:v>1180.7431256214106</c:v>
                </c:pt>
                <c:pt idx="76">
                  <c:v>1198.0544037820048</c:v>
                </c:pt>
                <c:pt idx="77">
                  <c:v>1213.8364446276032</c:v>
                </c:pt>
                <c:pt idx="78">
                  <c:v>1228.0242810770612</c:v>
                </c:pt>
                <c:pt idx="79">
                  <c:v>1240.5607609957756</c:v>
                </c:pt>
                <c:pt idx="80">
                  <c:v>1251.3969574277176</c:v>
                </c:pt>
                <c:pt idx="81">
                  <c:v>1260.4924716725523</c:v>
                </c:pt>
                <c:pt idx="82">
                  <c:v>1267.8153526317299</c:v>
                </c:pt>
                <c:pt idx="83">
                  <c:v>1273.3427608542424</c:v>
                </c:pt>
                <c:pt idx="84">
                  <c:v>1277.0610119220764</c:v>
                </c:pt>
                <c:pt idx="85">
                  <c:v>1278.9653050507345</c:v>
                </c:pt>
                <c:pt idx="86">
                  <c:v>1279.05958424403</c:v>
                </c:pt>
                <c:pt idx="87">
                  <c:v>1277.3565158239369</c:v>
                </c:pt>
                <c:pt idx="88">
                  <c:v>1273.8773732171928</c:v>
                </c:pt>
                <c:pt idx="89">
                  <c:v>1268.651831404379</c:v>
                </c:pt>
                <c:pt idx="90">
                  <c:v>1261.7176651184484</c:v>
                </c:pt>
                <c:pt idx="91">
                  <c:v>1253.1203594585052</c:v>
                </c:pt>
                <c:pt idx="92">
                  <c:v>1242.9125891880776</c:v>
                </c:pt>
                <c:pt idx="93">
                  <c:v>1231.15368345688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29</c:v>
                </c:pt>
                <c:pt idx="1">
                  <c:v>28</c:v>
                </c:pt>
                <c:pt idx="2">
                  <c:v>27</c:v>
                </c:pt>
                <c:pt idx="3">
                  <c:v>27</c:v>
                </c:pt>
                <c:pt idx="4">
                  <c:v>25</c:v>
                </c:pt>
                <c:pt idx="5">
                  <c:v>24</c:v>
                </c:pt>
                <c:pt idx="6">
                  <c:v>22</c:v>
                </c:pt>
                <c:pt idx="7">
                  <c:v>25</c:v>
                </c:pt>
                <c:pt idx="8">
                  <c:v>25</c:v>
                </c:pt>
                <c:pt idx="9">
                  <c:v>27</c:v>
                </c:pt>
                <c:pt idx="10">
                  <c:v>30</c:v>
                </c:pt>
                <c:pt idx="11">
                  <c:v>32</c:v>
                </c:pt>
                <c:pt idx="12">
                  <c:v>31</c:v>
                </c:pt>
                <c:pt idx="13">
                  <c:v>28</c:v>
                </c:pt>
                <c:pt idx="14">
                  <c:v>26</c:v>
                </c:pt>
                <c:pt idx="15">
                  <c:v>27</c:v>
                </c:pt>
                <c:pt idx="16">
                  <c:v>25</c:v>
                </c:pt>
                <c:pt idx="17">
                  <c:v>24</c:v>
                </c:pt>
                <c:pt idx="18">
                  <c:v>25</c:v>
                </c:pt>
                <c:pt idx="19">
                  <c:v>23</c:v>
                </c:pt>
                <c:pt idx="20">
                  <c:v>24</c:v>
                </c:pt>
                <c:pt idx="21">
                  <c:v>23</c:v>
                </c:pt>
                <c:pt idx="22">
                  <c:v>24</c:v>
                </c:pt>
                <c:pt idx="23">
                  <c:v>25</c:v>
                </c:pt>
                <c:pt idx="24">
                  <c:v>26</c:v>
                </c:pt>
                <c:pt idx="25">
                  <c:v>27</c:v>
                </c:pt>
                <c:pt idx="26">
                  <c:v>29</c:v>
                </c:pt>
                <c:pt idx="27">
                  <c:v>29</c:v>
                </c:pt>
                <c:pt idx="28">
                  <c:v>27</c:v>
                </c:pt>
                <c:pt idx="29">
                  <c:v>22</c:v>
                </c:pt>
                <c:pt idx="30">
                  <c:v>22</c:v>
                </c:pt>
                <c:pt idx="31">
                  <c:v>17</c:v>
                </c:pt>
                <c:pt idx="32">
                  <c:v>17</c:v>
                </c:pt>
                <c:pt idx="33">
                  <c:v>14</c:v>
                </c:pt>
                <c:pt idx="34">
                  <c:v>14</c:v>
                </c:pt>
                <c:pt idx="35">
                  <c:v>13</c:v>
                </c:pt>
                <c:pt idx="36">
                  <c:v>12</c:v>
                </c:pt>
                <c:pt idx="37">
                  <c:v>14</c:v>
                </c:pt>
                <c:pt idx="38">
                  <c:v>14</c:v>
                </c:pt>
                <c:pt idx="39">
                  <c:v>15</c:v>
                </c:pt>
                <c:pt idx="40">
                  <c:v>15</c:v>
                </c:pt>
                <c:pt idx="41">
                  <c:v>13</c:v>
                </c:pt>
                <c:pt idx="42">
                  <c:v>12</c:v>
                </c:pt>
                <c:pt idx="43">
                  <c:v>12</c:v>
                </c:pt>
                <c:pt idx="44">
                  <c:v>12</c:v>
                </c:pt>
                <c:pt idx="45">
                  <c:v>12</c:v>
                </c:pt>
                <c:pt idx="46">
                  <c:v>12</c:v>
                </c:pt>
                <c:pt idx="47">
                  <c:v>12</c:v>
                </c:pt>
                <c:pt idx="48">
                  <c:v>9</c:v>
                </c:pt>
                <c:pt idx="49">
                  <c:v>11</c:v>
                </c:pt>
                <c:pt idx="50">
                  <c:v>9</c:v>
                </c:pt>
                <c:pt idx="51">
                  <c:v>10</c:v>
                </c:pt>
                <c:pt idx="52">
                  <c:v>10</c:v>
                </c:pt>
                <c:pt idx="53">
                  <c:v>7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3</c:v>
                </c:pt>
                <c:pt idx="58">
                  <c:v>3</c:v>
                </c:pt>
                <c:pt idx="59">
                  <c:v>1</c:v>
                </c:pt>
                <c:pt idx="60">
                  <c:v>2</c:v>
                </c:pt>
                <c:pt idx="61">
                  <c:v>2</c:v>
                </c:pt>
                <c:pt idx="62">
                  <c:v>4</c:v>
                </c:pt>
                <c:pt idx="63">
                  <c:v>4</c:v>
                </c:pt>
                <c:pt idx="64">
                  <c:v>5</c:v>
                </c:pt>
                <c:pt idx="65">
                  <c:v>4</c:v>
                </c:pt>
                <c:pt idx="66">
                  <c:v>9</c:v>
                </c:pt>
                <c:pt idx="67">
                  <c:v>8</c:v>
                </c:pt>
                <c:pt idx="68">
                  <c:v>4</c:v>
                </c:pt>
                <c:pt idx="69">
                  <c:v>5</c:v>
                </c:pt>
                <c:pt idx="70">
                  <c:v>6</c:v>
                </c:pt>
                <c:pt idx="71">
                  <c:v>7</c:v>
                </c:pt>
                <c:pt idx="72">
                  <c:v>5</c:v>
                </c:pt>
                <c:pt idx="73">
                  <c:v>6</c:v>
                </c:pt>
                <c:pt idx="74">
                  <c:v>6</c:v>
                </c:pt>
                <c:pt idx="75">
                  <c:v>6</c:v>
                </c:pt>
                <c:pt idx="76">
                  <c:v>8</c:v>
                </c:pt>
                <c:pt idx="77">
                  <c:v>7</c:v>
                </c:pt>
                <c:pt idx="78">
                  <c:v>8</c:v>
                </c:pt>
                <c:pt idx="79">
                  <c:v>6</c:v>
                </c:pt>
                <c:pt idx="80">
                  <c:v>4</c:v>
                </c:pt>
                <c:pt idx="81">
                  <c:v>5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4</c:v>
                </c:pt>
                <c:pt idx="86">
                  <c:v>3</c:v>
                </c:pt>
                <c:pt idx="87">
                  <c:v>4</c:v>
                </c:pt>
                <c:pt idx="88">
                  <c:v>5</c:v>
                </c:pt>
                <c:pt idx="89">
                  <c:v>6</c:v>
                </c:pt>
                <c:pt idx="90">
                  <c:v>5</c:v>
                </c:pt>
                <c:pt idx="91">
                  <c:v>4</c:v>
                </c:pt>
                <c:pt idx="92">
                  <c:v>4</c:v>
                </c:pt>
                <c:pt idx="9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8.080443362550344</c:v>
                </c:pt>
                <c:pt idx="32">
                  <c:v>17.447814153347434</c:v>
                </c:pt>
                <c:pt idx="33">
                  <c:v>16.826911892865986</c:v>
                </c:pt>
                <c:pt idx="34">
                  <c:v>16.218260919106974</c:v>
                </c:pt>
                <c:pt idx="35">
                  <c:v>15.622307826577901</c:v>
                </c:pt>
                <c:pt idx="36">
                  <c:v>15.056388322952682</c:v>
                </c:pt>
                <c:pt idx="37">
                  <c:v>14.502620023389206</c:v>
                </c:pt>
                <c:pt idx="38">
                  <c:v>13.961309864670191</c:v>
                </c:pt>
                <c:pt idx="39">
                  <c:v>13.432712738794255</c:v>
                </c:pt>
                <c:pt idx="40">
                  <c:v>12.917049395324959</c:v>
                </c:pt>
                <c:pt idx="41">
                  <c:v>12.424460732645812</c:v>
                </c:pt>
                <c:pt idx="42">
                  <c:v>11.961808332286353</c:v>
                </c:pt>
                <c:pt idx="43">
                  <c:v>11.53234071642645</c:v>
                </c:pt>
                <c:pt idx="44">
                  <c:v>11.137101481300109</c:v>
                </c:pt>
                <c:pt idx="45">
                  <c:v>10.775913093729239</c:v>
                </c:pt>
                <c:pt idx="46">
                  <c:v>10.447929460834807</c:v>
                </c:pt>
                <c:pt idx="47">
                  <c:v>10.151926765583015</c:v>
                </c:pt>
                <c:pt idx="48">
                  <c:v>9.8863569522370067</c:v>
                </c:pt>
                <c:pt idx="49">
                  <c:v>9.6494179309696229</c:v>
                </c:pt>
                <c:pt idx="50">
                  <c:v>9.439064554975042</c:v>
                </c:pt>
                <c:pt idx="51">
                  <c:v>9.2532018177678115</c:v>
                </c:pt>
                <c:pt idx="52">
                  <c:v>9.0896597866667825</c:v>
                </c:pt>
                <c:pt idx="53">
                  <c:v>8.9463021211794036</c:v>
                </c:pt>
                <c:pt idx="54">
                  <c:v>8.8210943992630764</c:v>
                </c:pt>
                <c:pt idx="55">
                  <c:v>8.7118885666679375</c:v>
                </c:pt>
                <c:pt idx="56">
                  <c:v>8.6161511092737086</c:v>
                </c:pt>
                <c:pt idx="57">
                  <c:v>8.5313652839833658</c:v>
                </c:pt>
                <c:pt idx="58">
                  <c:v>8.4553524709859467</c:v>
                </c:pt>
                <c:pt idx="59">
                  <c:v>8.386279619908704</c:v>
                </c:pt>
                <c:pt idx="60">
                  <c:v>8.3225936650744199</c:v>
                </c:pt>
                <c:pt idx="61">
                  <c:v>8.262975810746779</c:v>
                </c:pt>
                <c:pt idx="62">
                  <c:v>8.2062891453375197</c:v>
                </c:pt>
                <c:pt idx="63">
                  <c:v>8.1514862466516025</c:v>
                </c:pt>
                <c:pt idx="64">
                  <c:v>8.0976535694783429</c:v>
                </c:pt>
                <c:pt idx="65">
                  <c:v>8.044047230419455</c:v>
                </c:pt>
                <c:pt idx="66">
                  <c:v>7.9900554105168533</c:v>
                </c:pt>
                <c:pt idx="67">
                  <c:v>7.9352097081647202</c:v>
                </c:pt>
                <c:pt idx="68">
                  <c:v>7.8791535188353219</c:v>
                </c:pt>
                <c:pt idx="69">
                  <c:v>7.8216174299343901</c:v>
                </c:pt>
                <c:pt idx="70">
                  <c:v>7.7624174583611802</c:v>
                </c:pt>
                <c:pt idx="71">
                  <c:v>7.7014380245719201</c:v>
                </c:pt>
                <c:pt idx="72">
                  <c:v>7.6386190748923539</c:v>
                </c:pt>
                <c:pt idx="73">
                  <c:v>7.5739374966571296</c:v>
                </c:pt>
                <c:pt idx="74">
                  <c:v>7.5074049611773743</c:v>
                </c:pt>
                <c:pt idx="75">
                  <c:v>7.4390724780984856</c:v>
                </c:pt>
                <c:pt idx="76">
                  <c:v>7.3690190873801047</c:v>
                </c:pt>
                <c:pt idx="77">
                  <c:v>7.2973383374369662</c:v>
                </c:pt>
                <c:pt idx="78">
                  <c:v>7.2241216876053338</c:v>
                </c:pt>
                <c:pt idx="79">
                  <c:v>7.1494620709336196</c:v>
                </c:pt>
                <c:pt idx="80">
                  <c:v>7.0734493620141166</c:v>
                </c:pt>
                <c:pt idx="81">
                  <c:v>6.9961863003664018</c:v>
                </c:pt>
                <c:pt idx="82">
                  <c:v>6.9177838394461189</c:v>
                </c:pt>
                <c:pt idx="83">
                  <c:v>6.8383523111160933</c:v>
                </c:pt>
                <c:pt idx="84">
                  <c:v>6.7580024761962996</c:v>
                </c:pt>
                <c:pt idx="85">
                  <c:v>6.6768420350854205</c:v>
                </c:pt>
                <c:pt idx="86">
                  <c:v>6.5949741173363652</c:v>
                </c:pt>
                <c:pt idx="87">
                  <c:v>6.512497171238425</c:v>
                </c:pt>
                <c:pt idx="88">
                  <c:v>6.429504940643338</c:v>
                </c:pt>
                <c:pt idx="89">
                  <c:v>6.3460826783420732</c:v>
                </c:pt>
                <c:pt idx="90">
                  <c:v>6.2623117399023833</c:v>
                </c:pt>
                <c:pt idx="91">
                  <c:v>6.178269960779426</c:v>
                </c:pt>
                <c:pt idx="92">
                  <c:v>6.0940310312342749</c:v>
                </c:pt>
                <c:pt idx="93">
                  <c:v>6.00966420183149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8.080443362550344</c:v>
                </c:pt>
                <c:pt idx="32">
                  <c:v>17.447814153347434</c:v>
                </c:pt>
                <c:pt idx="33">
                  <c:v>16.826911892865986</c:v>
                </c:pt>
                <c:pt idx="34">
                  <c:v>16.252267973736974</c:v>
                </c:pt>
                <c:pt idx="35">
                  <c:v>15.747200647636602</c:v>
                </c:pt>
                <c:pt idx="36">
                  <c:v>15.340946524930654</c:v>
                </c:pt>
                <c:pt idx="37">
                  <c:v>14.934692402224709</c:v>
                </c:pt>
                <c:pt idx="38">
                  <c:v>14.819243327085912</c:v>
                </c:pt>
                <c:pt idx="39">
                  <c:v>14.748717227771809</c:v>
                </c:pt>
                <c:pt idx="40">
                  <c:v>14.723076744983135</c:v>
                </c:pt>
                <c:pt idx="41">
                  <c:v>14.74180655843317</c:v>
                </c:pt>
                <c:pt idx="42">
                  <c:v>14.803974560983704</c:v>
                </c:pt>
                <c:pt idx="43">
                  <c:v>14.908209374089516</c:v>
                </c:pt>
                <c:pt idx="44">
                  <c:v>15.052986477488171</c:v>
                </c:pt>
                <c:pt idx="45">
                  <c:v>15.236545262068889</c:v>
                </c:pt>
                <c:pt idx="46">
                  <c:v>15.457048043476481</c:v>
                </c:pt>
                <c:pt idx="47">
                  <c:v>15.712674355148812</c:v>
                </c:pt>
                <c:pt idx="48">
                  <c:v>16.001236337463606</c:v>
                </c:pt>
                <c:pt idx="49">
                  <c:v>16.319696899347644</c:v>
                </c:pt>
                <c:pt idx="50">
                  <c:v>16.664842468343586</c:v>
                </c:pt>
                <c:pt idx="51">
                  <c:v>17.033804021948423</c:v>
                </c:pt>
                <c:pt idx="52">
                  <c:v>17.424048525137717</c:v>
                </c:pt>
                <c:pt idx="53">
                  <c:v>17.83326613017633</c:v>
                </c:pt>
                <c:pt idx="54">
                  <c:v>18.259302601032942</c:v>
                </c:pt>
                <c:pt idx="55">
                  <c:v>18.700082999307988</c:v>
                </c:pt>
                <c:pt idx="56">
                  <c:v>19.153467005386748</c:v>
                </c:pt>
                <c:pt idx="57">
                  <c:v>19.617335320202095</c:v>
                </c:pt>
                <c:pt idx="58">
                  <c:v>20.089659703319573</c:v>
                </c:pt>
                <c:pt idx="59">
                  <c:v>20.568446352172217</c:v>
                </c:pt>
                <c:pt idx="60">
                  <c:v>21.051769018799757</c:v>
                </c:pt>
                <c:pt idx="61">
                  <c:v>21.537728735374184</c:v>
                </c:pt>
                <c:pt idx="62">
                  <c:v>22.024426616297813</c:v>
                </c:pt>
                <c:pt idx="63">
                  <c:v>22.509927101397096</c:v>
                </c:pt>
                <c:pt idx="64">
                  <c:v>22.992258318553485</c:v>
                </c:pt>
                <c:pt idx="65">
                  <c:v>23.469424364503777</c:v>
                </c:pt>
                <c:pt idx="66">
                  <c:v>23.939398022929705</c:v>
                </c:pt>
                <c:pt idx="67">
                  <c:v>24.400138689596723</c:v>
                </c:pt>
                <c:pt idx="68">
                  <c:v>24.849620774280226</c:v>
                </c:pt>
                <c:pt idx="69">
                  <c:v>25.285834370180289</c:v>
                </c:pt>
                <c:pt idx="70">
                  <c:v>25.706880927337707</c:v>
                </c:pt>
                <c:pt idx="71">
                  <c:v>26.110938942124204</c:v>
                </c:pt>
                <c:pt idx="72">
                  <c:v>26.496262033796388</c:v>
                </c:pt>
                <c:pt idx="73">
                  <c:v>26.861173059397469</c:v>
                </c:pt>
                <c:pt idx="74">
                  <c:v>27.204100977900953</c:v>
                </c:pt>
                <c:pt idx="75">
                  <c:v>27.523584310874977</c:v>
                </c:pt>
                <c:pt idx="76">
                  <c:v>27.818268952460517</c:v>
                </c:pt>
                <c:pt idx="77">
                  <c:v>28.086921850700023</c:v>
                </c:pt>
                <c:pt idx="78">
                  <c:v>28.328437090660753</c:v>
                </c:pt>
                <c:pt idx="79">
                  <c:v>28.541841788876521</c:v>
                </c:pt>
                <c:pt idx="80">
                  <c:v>28.726303076603163</c:v>
                </c:pt>
                <c:pt idx="81">
                  <c:v>28.881133259008561</c:v>
                </c:pt>
                <c:pt idx="82">
                  <c:v>29.00578844222553</c:v>
                </c:pt>
                <c:pt idx="83">
                  <c:v>29.099879837201549</c:v>
                </c:pt>
                <c:pt idx="84">
                  <c:v>29.163174498236113</c:v>
                </c:pt>
                <c:pt idx="85">
                  <c:v>29.195590703029687</c:v>
                </c:pt>
                <c:pt idx="86">
                  <c:v>29.197195589163893</c:v>
                </c:pt>
                <c:pt idx="87">
                  <c:v>29.168204771598891</c:v>
                </c:pt>
                <c:pt idx="88">
                  <c:v>29.108980381430683</c:v>
                </c:pt>
                <c:pt idx="89">
                  <c:v>29.020027566860087</c:v>
                </c:pt>
                <c:pt idx="90">
                  <c:v>28.901989355717735</c:v>
                </c:pt>
                <c:pt idx="91">
                  <c:v>28.755640027060497</c:v>
                </c:pt>
                <c:pt idx="92">
                  <c:v>28.581876247423718</c:v>
                </c:pt>
                <c:pt idx="93">
                  <c:v>28.3817079589421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8.080443362550344</c:v>
                </c:pt>
                <c:pt idx="32">
                  <c:v>17.447814153347434</c:v>
                </c:pt>
                <c:pt idx="33">
                  <c:v>16.826911892865986</c:v>
                </c:pt>
                <c:pt idx="34">
                  <c:v>16.252267973736974</c:v>
                </c:pt>
                <c:pt idx="35">
                  <c:v>15.747200647636602</c:v>
                </c:pt>
                <c:pt idx="36">
                  <c:v>15.340946524930654</c:v>
                </c:pt>
                <c:pt idx="37">
                  <c:v>15.021080940170718</c:v>
                </c:pt>
                <c:pt idx="38">
                  <c:v>14.790182789893121</c:v>
                </c:pt>
                <c:pt idx="39">
                  <c:v>14.649130591264916</c:v>
                </c:pt>
                <c:pt idx="40">
                  <c:v>14.597849625687571</c:v>
                </c:pt>
                <c:pt idx="41">
                  <c:v>14.635309252587643</c:v>
                </c:pt>
                <c:pt idx="42">
                  <c:v>14.75964525768871</c:v>
                </c:pt>
                <c:pt idx="43">
                  <c:v>14.968114883900334</c:v>
                </c:pt>
                <c:pt idx="44">
                  <c:v>15.25766909069764</c:v>
                </c:pt>
                <c:pt idx="45">
                  <c:v>15.624786659859074</c:v>
                </c:pt>
                <c:pt idx="46">
                  <c:v>16.065792222674265</c:v>
                </c:pt>
                <c:pt idx="47">
                  <c:v>16.577044846018925</c:v>
                </c:pt>
                <c:pt idx="48">
                  <c:v>17.154168810648514</c:v>
                </c:pt>
                <c:pt idx="49">
                  <c:v>17.791089934416586</c:v>
                </c:pt>
                <c:pt idx="50">
                  <c:v>18.481381072408475</c:v>
                </c:pt>
                <c:pt idx="51">
                  <c:v>19.219304179618149</c:v>
                </c:pt>
                <c:pt idx="52">
                  <c:v>19.999793185996726</c:v>
                </c:pt>
                <c:pt idx="53">
                  <c:v>20.818228396073962</c:v>
                </c:pt>
                <c:pt idx="54">
                  <c:v>21.67030133778718</c:v>
                </c:pt>
                <c:pt idx="55">
                  <c:v>22.551862134337266</c:v>
                </c:pt>
                <c:pt idx="56">
                  <c:v>23.458630146494798</c:v>
                </c:pt>
                <c:pt idx="57">
                  <c:v>24.386366776125492</c:v>
                </c:pt>
                <c:pt idx="58">
                  <c:v>25.331015542360444</c:v>
                </c:pt>
                <c:pt idx="59">
                  <c:v>26.288588840065728</c:v>
                </c:pt>
                <c:pt idx="60">
                  <c:v>27.255234173320822</c:v>
                </c:pt>
                <c:pt idx="61">
                  <c:v>28.227153606469663</c:v>
                </c:pt>
                <c:pt idx="62">
                  <c:v>29.200549368316931</c:v>
                </c:pt>
                <c:pt idx="63">
                  <c:v>30.171550338515488</c:v>
                </c:pt>
                <c:pt idx="64">
                  <c:v>31.136212772828262</c:v>
                </c:pt>
                <c:pt idx="65">
                  <c:v>32.090544864728841</c:v>
                </c:pt>
                <c:pt idx="66">
                  <c:v>33.030492181580705</c:v>
                </c:pt>
                <c:pt idx="67">
                  <c:v>33.951973514914741</c:v>
                </c:pt>
                <c:pt idx="68">
                  <c:v>34.850937684281739</c:v>
                </c:pt>
                <c:pt idx="69">
                  <c:v>35.723364876081874</c:v>
                </c:pt>
                <c:pt idx="70">
                  <c:v>36.565457990396702</c:v>
                </c:pt>
                <c:pt idx="71">
                  <c:v>37.373574019969702</c:v>
                </c:pt>
                <c:pt idx="72">
                  <c:v>38.144220203314084</c:v>
                </c:pt>
                <c:pt idx="73">
                  <c:v>38.87404225451624</c:v>
                </c:pt>
                <c:pt idx="74">
                  <c:v>39.559898091523216</c:v>
                </c:pt>
                <c:pt idx="75">
                  <c:v>40.198864757471249</c:v>
                </c:pt>
                <c:pt idx="76">
                  <c:v>40.788234040642344</c:v>
                </c:pt>
                <c:pt idx="77">
                  <c:v>41.325539837121326</c:v>
                </c:pt>
                <c:pt idx="78">
                  <c:v>41.808570317042793</c:v>
                </c:pt>
                <c:pt idx="79">
                  <c:v>42.235379713474323</c:v>
                </c:pt>
                <c:pt idx="80">
                  <c:v>42.60430228892762</c:v>
                </c:pt>
                <c:pt idx="81">
                  <c:v>42.913962653738416</c:v>
                </c:pt>
                <c:pt idx="82">
                  <c:v>43.163273020172369</c:v>
                </c:pt>
                <c:pt idx="83">
                  <c:v>43.351455810124399</c:v>
                </c:pt>
                <c:pt idx="84">
                  <c:v>43.478045132193515</c:v>
                </c:pt>
                <c:pt idx="85">
                  <c:v>43.542877541780669</c:v>
                </c:pt>
                <c:pt idx="86">
                  <c:v>43.546087314049075</c:v>
                </c:pt>
                <c:pt idx="87">
                  <c:v>43.488105678919069</c:v>
                </c:pt>
                <c:pt idx="88">
                  <c:v>43.369656898582654</c:v>
                </c:pt>
                <c:pt idx="89">
                  <c:v>43.191751269441461</c:v>
                </c:pt>
                <c:pt idx="90">
                  <c:v>42.955674847156779</c:v>
                </c:pt>
                <c:pt idx="91">
                  <c:v>42.66297618984229</c:v>
                </c:pt>
                <c:pt idx="92">
                  <c:v>42.315448630568717</c:v>
                </c:pt>
                <c:pt idx="93">
                  <c:v>41.9151120536056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32</c:v>
                </c:pt>
                <c:pt idx="1">
                  <c:v>30</c:v>
                </c:pt>
                <c:pt idx="2">
                  <c:v>35</c:v>
                </c:pt>
                <c:pt idx="3">
                  <c:v>34</c:v>
                </c:pt>
                <c:pt idx="4">
                  <c:v>32</c:v>
                </c:pt>
                <c:pt idx="5">
                  <c:v>28</c:v>
                </c:pt>
                <c:pt idx="6">
                  <c:v>28</c:v>
                </c:pt>
                <c:pt idx="7">
                  <c:v>28</c:v>
                </c:pt>
                <c:pt idx="8">
                  <c:v>26</c:v>
                </c:pt>
                <c:pt idx="9">
                  <c:v>26</c:v>
                </c:pt>
                <c:pt idx="10">
                  <c:v>32</c:v>
                </c:pt>
                <c:pt idx="11">
                  <c:v>31</c:v>
                </c:pt>
                <c:pt idx="12">
                  <c:v>30</c:v>
                </c:pt>
                <c:pt idx="13">
                  <c:v>26</c:v>
                </c:pt>
                <c:pt idx="14">
                  <c:v>26</c:v>
                </c:pt>
                <c:pt idx="15">
                  <c:v>32</c:v>
                </c:pt>
                <c:pt idx="16">
                  <c:v>33</c:v>
                </c:pt>
                <c:pt idx="17">
                  <c:v>28</c:v>
                </c:pt>
                <c:pt idx="18">
                  <c:v>30</c:v>
                </c:pt>
                <c:pt idx="19">
                  <c:v>38</c:v>
                </c:pt>
                <c:pt idx="20">
                  <c:v>32</c:v>
                </c:pt>
                <c:pt idx="21">
                  <c:v>29</c:v>
                </c:pt>
                <c:pt idx="22">
                  <c:v>35</c:v>
                </c:pt>
                <c:pt idx="23">
                  <c:v>28</c:v>
                </c:pt>
                <c:pt idx="24">
                  <c:v>30</c:v>
                </c:pt>
                <c:pt idx="25">
                  <c:v>30</c:v>
                </c:pt>
                <c:pt idx="26">
                  <c:v>30</c:v>
                </c:pt>
                <c:pt idx="27">
                  <c:v>31</c:v>
                </c:pt>
                <c:pt idx="28">
                  <c:v>28</c:v>
                </c:pt>
                <c:pt idx="29">
                  <c:v>27</c:v>
                </c:pt>
                <c:pt idx="30">
                  <c:v>27</c:v>
                </c:pt>
                <c:pt idx="31">
                  <c:v>25</c:v>
                </c:pt>
                <c:pt idx="32">
                  <c:v>26</c:v>
                </c:pt>
                <c:pt idx="33">
                  <c:v>23</c:v>
                </c:pt>
                <c:pt idx="34">
                  <c:v>25</c:v>
                </c:pt>
                <c:pt idx="35">
                  <c:v>23</c:v>
                </c:pt>
                <c:pt idx="36">
                  <c:v>21</c:v>
                </c:pt>
                <c:pt idx="37">
                  <c:v>21</c:v>
                </c:pt>
                <c:pt idx="38">
                  <c:v>20</c:v>
                </c:pt>
                <c:pt idx="39">
                  <c:v>19</c:v>
                </c:pt>
                <c:pt idx="40">
                  <c:v>19</c:v>
                </c:pt>
                <c:pt idx="41">
                  <c:v>17</c:v>
                </c:pt>
                <c:pt idx="42">
                  <c:v>17</c:v>
                </c:pt>
                <c:pt idx="43">
                  <c:v>14</c:v>
                </c:pt>
                <c:pt idx="44">
                  <c:v>15</c:v>
                </c:pt>
                <c:pt idx="45">
                  <c:v>13</c:v>
                </c:pt>
                <c:pt idx="46">
                  <c:v>13</c:v>
                </c:pt>
                <c:pt idx="47">
                  <c:v>15</c:v>
                </c:pt>
                <c:pt idx="48">
                  <c:v>16</c:v>
                </c:pt>
                <c:pt idx="49">
                  <c:v>13</c:v>
                </c:pt>
                <c:pt idx="50">
                  <c:v>12</c:v>
                </c:pt>
                <c:pt idx="51">
                  <c:v>13</c:v>
                </c:pt>
                <c:pt idx="52">
                  <c:v>12</c:v>
                </c:pt>
                <c:pt idx="53">
                  <c:v>12</c:v>
                </c:pt>
                <c:pt idx="54">
                  <c:v>11</c:v>
                </c:pt>
                <c:pt idx="55">
                  <c:v>10</c:v>
                </c:pt>
                <c:pt idx="56">
                  <c:v>11</c:v>
                </c:pt>
                <c:pt idx="57">
                  <c:v>12</c:v>
                </c:pt>
                <c:pt idx="58">
                  <c:v>10</c:v>
                </c:pt>
                <c:pt idx="59">
                  <c:v>10</c:v>
                </c:pt>
                <c:pt idx="60">
                  <c:v>9</c:v>
                </c:pt>
                <c:pt idx="61">
                  <c:v>7</c:v>
                </c:pt>
                <c:pt idx="62">
                  <c:v>10</c:v>
                </c:pt>
                <c:pt idx="63">
                  <c:v>7</c:v>
                </c:pt>
                <c:pt idx="64">
                  <c:v>9</c:v>
                </c:pt>
                <c:pt idx="65">
                  <c:v>9</c:v>
                </c:pt>
                <c:pt idx="66">
                  <c:v>10</c:v>
                </c:pt>
                <c:pt idx="67">
                  <c:v>9</c:v>
                </c:pt>
                <c:pt idx="68">
                  <c:v>10</c:v>
                </c:pt>
                <c:pt idx="69">
                  <c:v>9</c:v>
                </c:pt>
                <c:pt idx="70">
                  <c:v>9</c:v>
                </c:pt>
                <c:pt idx="71">
                  <c:v>11</c:v>
                </c:pt>
                <c:pt idx="72">
                  <c:v>12</c:v>
                </c:pt>
                <c:pt idx="73">
                  <c:v>12</c:v>
                </c:pt>
                <c:pt idx="74">
                  <c:v>10</c:v>
                </c:pt>
                <c:pt idx="75">
                  <c:v>11</c:v>
                </c:pt>
                <c:pt idx="76">
                  <c:v>13</c:v>
                </c:pt>
                <c:pt idx="77">
                  <c:v>17</c:v>
                </c:pt>
                <c:pt idx="78">
                  <c:v>12</c:v>
                </c:pt>
                <c:pt idx="79">
                  <c:v>9</c:v>
                </c:pt>
                <c:pt idx="80">
                  <c:v>9</c:v>
                </c:pt>
                <c:pt idx="81">
                  <c:v>9</c:v>
                </c:pt>
                <c:pt idx="82">
                  <c:v>10</c:v>
                </c:pt>
                <c:pt idx="83">
                  <c:v>10</c:v>
                </c:pt>
                <c:pt idx="84">
                  <c:v>10</c:v>
                </c:pt>
                <c:pt idx="85">
                  <c:v>9</c:v>
                </c:pt>
                <c:pt idx="86">
                  <c:v>9</c:v>
                </c:pt>
                <c:pt idx="87">
                  <c:v>10</c:v>
                </c:pt>
                <c:pt idx="88">
                  <c:v>13</c:v>
                </c:pt>
                <c:pt idx="89">
                  <c:v>10</c:v>
                </c:pt>
                <c:pt idx="90">
                  <c:v>10</c:v>
                </c:pt>
                <c:pt idx="91">
                  <c:v>6</c:v>
                </c:pt>
                <c:pt idx="92">
                  <c:v>7</c:v>
                </c:pt>
                <c:pt idx="93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9.675776600422434</c:v>
                </c:pt>
                <c:pt idx="32">
                  <c:v>18.987327166878092</c:v>
                </c:pt>
                <c:pt idx="33">
                  <c:v>18.311639412824753</c:v>
                </c:pt>
                <c:pt idx="34">
                  <c:v>17.649283941381121</c:v>
                </c:pt>
                <c:pt idx="35">
                  <c:v>17.000746752452422</c:v>
                </c:pt>
                <c:pt idx="36">
                  <c:v>16.384893174977918</c:v>
                </c:pt>
                <c:pt idx="37">
                  <c:v>15.782262966629432</c:v>
                </c:pt>
                <c:pt idx="38">
                  <c:v>15.193190146846973</c:v>
                </c:pt>
                <c:pt idx="39">
                  <c:v>14.61795209809963</c:v>
                </c:pt>
                <c:pt idx="40">
                  <c:v>14.056789047853632</c:v>
                </c:pt>
                <c:pt idx="41">
                  <c:v>13.520736679643974</c:v>
                </c:pt>
                <c:pt idx="42">
                  <c:v>13.017262008664561</c:v>
                </c:pt>
                <c:pt idx="43">
                  <c:v>12.549900191405255</c:v>
                </c:pt>
                <c:pt idx="44">
                  <c:v>12.119786906120707</c:v>
                </c:pt>
                <c:pt idx="45">
                  <c:v>11.726728954940643</c:v>
                </c:pt>
                <c:pt idx="46">
                  <c:v>11.369805589731998</c:v>
                </c:pt>
                <c:pt idx="47">
                  <c:v>11.047685009605047</c:v>
                </c:pt>
                <c:pt idx="48">
                  <c:v>10.758682565669684</c:v>
                </c:pt>
                <c:pt idx="49">
                  <c:v>10.500837160172827</c:v>
                </c:pt>
                <c:pt idx="50">
                  <c:v>10.271923192178724</c:v>
                </c:pt>
                <c:pt idx="51">
                  <c:v>10.069660801688501</c:v>
                </c:pt>
                <c:pt idx="52">
                  <c:v>9.8916885913726755</c:v>
                </c:pt>
                <c:pt idx="53">
                  <c:v>9.7356817201069994</c:v>
                </c:pt>
                <c:pt idx="54">
                  <c:v>9.5994262580215821</c:v>
                </c:pt>
                <c:pt idx="55">
                  <c:v>9.4805846166680503</c:v>
                </c:pt>
                <c:pt idx="56">
                  <c:v>9.3763997365625666</c:v>
                </c:pt>
                <c:pt idx="57">
                  <c:v>9.284132809040722</c:v>
                </c:pt>
                <c:pt idx="58">
                  <c:v>9.2014129831317657</c:v>
                </c:pt>
                <c:pt idx="59">
                  <c:v>9.1262454687241785</c:v>
                </c:pt>
                <c:pt idx="60">
                  <c:v>9.0569401649339287</c:v>
                </c:pt>
                <c:pt idx="61">
                  <c:v>8.9920619116950249</c:v>
                </c:pt>
                <c:pt idx="62">
                  <c:v>8.9303734816908307</c:v>
                </c:pt>
                <c:pt idx="63">
                  <c:v>8.8707350331208623</c:v>
                </c:pt>
                <c:pt idx="64">
                  <c:v>8.8121524138440801</c:v>
                </c:pt>
                <c:pt idx="65">
                  <c:v>8.7538161036917597</c:v>
                </c:pt>
                <c:pt idx="66">
                  <c:v>8.6950602996801063</c:v>
                </c:pt>
                <c:pt idx="67">
                  <c:v>8.6353752706498437</c:v>
                </c:pt>
                <c:pt idx="68">
                  <c:v>8.5743729469678502</c:v>
                </c:pt>
                <c:pt idx="69">
                  <c:v>8.5117601443403661</c:v>
                </c:pt>
                <c:pt idx="70">
                  <c:v>8.4473366458636381</c:v>
                </c:pt>
                <c:pt idx="71">
                  <c:v>8.3809766737988536</c:v>
                </c:pt>
                <c:pt idx="72">
                  <c:v>8.3126148756181504</c:v>
                </c:pt>
                <c:pt idx="73">
                  <c:v>8.2422260993033465</c:v>
                </c:pt>
                <c:pt idx="74">
                  <c:v>8.1698230459871439</c:v>
                </c:pt>
                <c:pt idx="75">
                  <c:v>8.0954612261659999</c:v>
                </c:pt>
                <c:pt idx="76">
                  <c:v>8.019226653913643</c:v>
                </c:pt>
                <c:pt idx="77">
                  <c:v>7.9412211319166985</c:v>
                </c:pt>
                <c:pt idx="78">
                  <c:v>7.8615441894528635</c:v>
                </c:pt>
                <c:pt idx="79">
                  <c:v>7.7802969595454092</c:v>
                </c:pt>
                <c:pt idx="80">
                  <c:v>7.6975772468977155</c:v>
                </c:pt>
                <c:pt idx="81">
                  <c:v>7.6134968562810847</c:v>
                </c:pt>
                <c:pt idx="82">
                  <c:v>7.5281765311619528</c:v>
                </c:pt>
                <c:pt idx="83">
                  <c:v>7.4417363385675133</c:v>
                </c:pt>
                <c:pt idx="84">
                  <c:v>7.3542968123312678</c:v>
                </c:pt>
                <c:pt idx="85">
                  <c:v>7.2659751558282517</c:v>
                </c:pt>
                <c:pt idx="86">
                  <c:v>7.1768835982778096</c:v>
                </c:pt>
                <c:pt idx="87">
                  <c:v>7.0871292745829919</c:v>
                </c:pt>
                <c:pt idx="88">
                  <c:v>6.9968142001118681</c:v>
                </c:pt>
                <c:pt idx="89">
                  <c:v>6.9060311499604916</c:v>
                </c:pt>
                <c:pt idx="90">
                  <c:v>6.8148686581290647</c:v>
                </c:pt>
                <c:pt idx="91">
                  <c:v>6.7234114279070223</c:v>
                </c:pt>
                <c:pt idx="92">
                  <c:v>6.6317396516372993</c:v>
                </c:pt>
                <c:pt idx="93">
                  <c:v>6.53992869022838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9.675776600422434</c:v>
                </c:pt>
                <c:pt idx="32">
                  <c:v>18.987327166878092</c:v>
                </c:pt>
                <c:pt idx="33">
                  <c:v>18.311639412824753</c:v>
                </c:pt>
                <c:pt idx="34">
                  <c:v>17.686291618478471</c:v>
                </c:pt>
                <c:pt idx="35">
                  <c:v>17.136659528310421</c:v>
                </c:pt>
                <c:pt idx="36">
                  <c:v>16.694559453601009</c:v>
                </c:pt>
                <c:pt idx="37">
                  <c:v>16.252459378891594</c:v>
                </c:pt>
                <c:pt idx="38">
                  <c:v>16.126823620652317</c:v>
                </c:pt>
                <c:pt idx="39">
                  <c:v>16.050074630222266</c:v>
                </c:pt>
                <c:pt idx="40">
                  <c:v>16.022171751893413</c:v>
                </c:pt>
                <c:pt idx="41">
                  <c:v>16.042554195941978</c:v>
                </c:pt>
                <c:pt idx="42">
                  <c:v>16.110207610482266</c:v>
                </c:pt>
                <c:pt idx="43">
                  <c:v>16.22363961297977</c:v>
                </c:pt>
                <c:pt idx="44">
                  <c:v>16.381191166678303</c:v>
                </c:pt>
                <c:pt idx="45">
                  <c:v>16.580946314604379</c:v>
                </c:pt>
                <c:pt idx="46">
                  <c:v>16.820905223783232</c:v>
                </c:pt>
                <c:pt idx="47">
                  <c:v>17.099086798250177</c:v>
                </c:pt>
                <c:pt idx="48">
                  <c:v>17.41311013194569</c:v>
                </c:pt>
                <c:pt idx="49">
                  <c:v>17.759670155172437</c:v>
                </c:pt>
                <c:pt idx="50">
                  <c:v>18.135269744962137</c:v>
                </c:pt>
                <c:pt idx="51">
                  <c:v>18.536786729767403</c:v>
                </c:pt>
                <c:pt idx="52">
                  <c:v>18.9614645714734</c:v>
                </c:pt>
                <c:pt idx="53">
                  <c:v>19.406789612250716</c:v>
                </c:pt>
                <c:pt idx="54">
                  <c:v>19.870417536418206</c:v>
                </c:pt>
                <c:pt idx="55">
                  <c:v>20.350090322776342</c:v>
                </c:pt>
                <c:pt idx="56">
                  <c:v>20.8434787999797</c:v>
                </c:pt>
                <c:pt idx="57">
                  <c:v>21.348276671984635</c:v>
                </c:pt>
                <c:pt idx="58">
                  <c:v>21.862276735965416</c:v>
                </c:pt>
                <c:pt idx="59">
                  <c:v>22.383309265599177</c:v>
                </c:pt>
                <c:pt idx="60">
                  <c:v>22.909278049870327</c:v>
                </c:pt>
                <c:pt idx="61">
                  <c:v>23.438116564966023</c:v>
                </c:pt>
                <c:pt idx="62">
                  <c:v>23.967758376559388</c:v>
                </c:pt>
                <c:pt idx="63">
                  <c:v>24.496097139755662</c:v>
                </c:pt>
                <c:pt idx="64">
                  <c:v>25.020986993719973</c:v>
                </c:pt>
                <c:pt idx="65">
                  <c:v>25.540255926077641</c:v>
                </c:pt>
                <c:pt idx="66">
                  <c:v>26.051697848482327</c:v>
                </c:pt>
                <c:pt idx="67">
                  <c:v>26.553092103384671</c:v>
                </c:pt>
                <c:pt idx="68">
                  <c:v>27.042234372010835</c:v>
                </c:pt>
                <c:pt idx="69">
                  <c:v>27.516937402843258</c:v>
                </c:pt>
                <c:pt idx="70">
                  <c:v>27.975135126808684</c:v>
                </c:pt>
                <c:pt idx="71">
                  <c:v>28.414845319370457</c:v>
                </c:pt>
                <c:pt idx="72">
                  <c:v>28.834167507366658</c:v>
                </c:pt>
                <c:pt idx="73">
                  <c:v>29.231276564638424</c:v>
                </c:pt>
                <c:pt idx="74">
                  <c:v>29.604462828892217</c:v>
                </c:pt>
                <c:pt idx="75">
                  <c:v>29.952135867716891</c:v>
                </c:pt>
                <c:pt idx="76">
                  <c:v>30.272822095324685</c:v>
                </c:pt>
                <c:pt idx="77">
                  <c:v>30.565179661055907</c:v>
                </c:pt>
                <c:pt idx="78">
                  <c:v>30.828005069248466</c:v>
                </c:pt>
                <c:pt idx="79">
                  <c:v>31.060239593777393</c:v>
                </c:pt>
                <c:pt idx="80">
                  <c:v>31.260976877479912</c:v>
                </c:pt>
                <c:pt idx="81">
                  <c:v>31.429468546568138</c:v>
                </c:pt>
                <c:pt idx="82">
                  <c:v>31.565122716539548</c:v>
                </c:pt>
                <c:pt idx="83">
                  <c:v>31.667516293425219</c:v>
                </c:pt>
                <c:pt idx="84">
                  <c:v>31.736395777492245</c:v>
                </c:pt>
                <c:pt idx="85">
                  <c:v>31.771672235649955</c:v>
                </c:pt>
                <c:pt idx="86">
                  <c:v>31.773418729384236</c:v>
                </c:pt>
                <c:pt idx="87">
                  <c:v>31.741869898504675</c:v>
                </c:pt>
                <c:pt idx="88">
                  <c:v>31.67741982685104</c:v>
                </c:pt>
                <c:pt idx="89">
                  <c:v>31.580618234524213</c:v>
                </c:pt>
                <c:pt idx="90">
                  <c:v>31.452164887104598</c:v>
                </c:pt>
                <c:pt idx="91">
                  <c:v>31.292902382389368</c:v>
                </c:pt>
                <c:pt idx="92">
                  <c:v>31.103806504549343</c:v>
                </c:pt>
                <c:pt idx="93">
                  <c:v>30.8859763082605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9.675776600422434</c:v>
                </c:pt>
                <c:pt idx="32">
                  <c:v>18.987327166878092</c:v>
                </c:pt>
                <c:pt idx="33">
                  <c:v>18.311639412824753</c:v>
                </c:pt>
                <c:pt idx="34">
                  <c:v>17.686291618478471</c:v>
                </c:pt>
                <c:pt idx="35">
                  <c:v>17.136659528310421</c:v>
                </c:pt>
                <c:pt idx="36">
                  <c:v>16.694559453601009</c:v>
                </c:pt>
                <c:pt idx="37">
                  <c:v>16.346470434891664</c:v>
                </c:pt>
                <c:pt idx="38">
                  <c:v>16.095198918413104</c:v>
                </c:pt>
                <c:pt idx="39">
                  <c:v>15.941700937552998</c:v>
                </c:pt>
                <c:pt idx="40">
                  <c:v>15.885895180895298</c:v>
                </c:pt>
                <c:pt idx="41">
                  <c:v>15.926660068992435</c:v>
                </c:pt>
                <c:pt idx="42">
                  <c:v>16.06196689807301</c:v>
                </c:pt>
                <c:pt idx="43">
                  <c:v>16.288830903068011</c:v>
                </c:pt>
                <c:pt idx="44">
                  <c:v>16.603934010465078</c:v>
                </c:pt>
                <c:pt idx="45">
                  <c:v>17.003444306317228</c:v>
                </c:pt>
                <c:pt idx="46">
                  <c:v>17.483362124674933</c:v>
                </c:pt>
                <c:pt idx="47">
                  <c:v>18.03972527360883</c:v>
                </c:pt>
                <c:pt idx="48">
                  <c:v>18.667771940999856</c:v>
                </c:pt>
                <c:pt idx="49">
                  <c:v>19.360891987453343</c:v>
                </c:pt>
                <c:pt idx="50">
                  <c:v>20.112091167032752</c:v>
                </c:pt>
                <c:pt idx="51">
                  <c:v>20.91512513664328</c:v>
                </c:pt>
                <c:pt idx="52">
                  <c:v>21.764480820055262</c:v>
                </c:pt>
                <c:pt idx="53">
                  <c:v>22.655130901609901</c:v>
                </c:pt>
                <c:pt idx="54">
                  <c:v>23.582386749944874</c:v>
                </c:pt>
                <c:pt idx="55">
                  <c:v>24.541732322661144</c:v>
                </c:pt>
                <c:pt idx="56">
                  <c:v>25.528509277067869</c:v>
                </c:pt>
                <c:pt idx="57">
                  <c:v>26.538105021077744</c:v>
                </c:pt>
                <c:pt idx="58">
                  <c:v>27.566105149039306</c:v>
                </c:pt>
                <c:pt idx="59">
                  <c:v>28.608170208306824</c:v>
                </c:pt>
                <c:pt idx="60">
                  <c:v>29.660107776849134</c:v>
                </c:pt>
                <c:pt idx="61">
                  <c:v>30.71778480704052</c:v>
                </c:pt>
                <c:pt idx="62">
                  <c:v>31.777068430227253</c:v>
                </c:pt>
                <c:pt idx="63">
                  <c:v>32.833745956619801</c:v>
                </c:pt>
                <c:pt idx="64">
                  <c:v>33.883525664548408</c:v>
                </c:pt>
                <c:pt idx="65">
                  <c:v>34.922063529263745</c:v>
                </c:pt>
                <c:pt idx="66">
                  <c:v>35.944947374073116</c:v>
                </c:pt>
                <c:pt idx="67">
                  <c:v>36.947735883877804</c:v>
                </c:pt>
                <c:pt idx="68">
                  <c:v>37.926020421130126</c:v>
                </c:pt>
                <c:pt idx="69">
                  <c:v>38.875426482794985</c:v>
                </c:pt>
                <c:pt idx="70">
                  <c:v>39.791821930725824</c:v>
                </c:pt>
                <c:pt idx="71">
                  <c:v>40.671242315849383</c:v>
                </c:pt>
                <c:pt idx="72">
                  <c:v>41.5098866918418</c:v>
                </c:pt>
                <c:pt idx="73">
                  <c:v>42.304104806385318</c:v>
                </c:pt>
                <c:pt idx="74">
                  <c:v>43.050477334892911</c:v>
                </c:pt>
                <c:pt idx="75">
                  <c:v>43.745823412542244</c:v>
                </c:pt>
                <c:pt idx="76">
                  <c:v>44.387195867757846</c:v>
                </c:pt>
                <c:pt idx="77">
                  <c:v>44.97191099922027</c:v>
                </c:pt>
                <c:pt idx="78">
                  <c:v>45.497561815605401</c:v>
                </c:pt>
                <c:pt idx="79">
                  <c:v>45.962030864663241</c:v>
                </c:pt>
                <c:pt idx="80">
                  <c:v>46.363505432068301</c:v>
                </c:pt>
                <c:pt idx="81">
                  <c:v>46.700488770244753</c:v>
                </c:pt>
                <c:pt idx="82">
                  <c:v>46.97179711018758</c:v>
                </c:pt>
                <c:pt idx="83">
                  <c:v>47.176584263958908</c:v>
                </c:pt>
                <c:pt idx="84">
                  <c:v>47.314343232092945</c:v>
                </c:pt>
                <c:pt idx="85">
                  <c:v>47.38489614840838</c:v>
                </c:pt>
                <c:pt idx="86">
                  <c:v>47.388389135876935</c:v>
                </c:pt>
                <c:pt idx="87">
                  <c:v>47.325291474117812</c:v>
                </c:pt>
                <c:pt idx="88">
                  <c:v>47.196391330810542</c:v>
                </c:pt>
                <c:pt idx="89">
                  <c:v>47.002788146156888</c:v>
                </c:pt>
                <c:pt idx="90">
                  <c:v>46.745881451317672</c:v>
                </c:pt>
                <c:pt idx="91">
                  <c:v>46.427356441887198</c:v>
                </c:pt>
                <c:pt idx="92">
                  <c:v>46.049164686207142</c:v>
                </c:pt>
                <c:pt idx="93">
                  <c:v>45.6135042936296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168</c:v>
                </c:pt>
                <c:pt idx="1">
                  <c:v>173</c:v>
                </c:pt>
                <c:pt idx="2">
                  <c:v>166</c:v>
                </c:pt>
                <c:pt idx="3">
                  <c:v>154</c:v>
                </c:pt>
                <c:pt idx="4">
                  <c:v>151</c:v>
                </c:pt>
                <c:pt idx="5">
                  <c:v>162</c:v>
                </c:pt>
                <c:pt idx="6">
                  <c:v>155</c:v>
                </c:pt>
                <c:pt idx="7">
                  <c:v>157</c:v>
                </c:pt>
                <c:pt idx="8">
                  <c:v>165</c:v>
                </c:pt>
                <c:pt idx="9">
                  <c:v>149</c:v>
                </c:pt>
                <c:pt idx="10">
                  <c:v>148</c:v>
                </c:pt>
                <c:pt idx="11">
                  <c:v>145</c:v>
                </c:pt>
                <c:pt idx="12">
                  <c:v>156</c:v>
                </c:pt>
                <c:pt idx="13">
                  <c:v>153</c:v>
                </c:pt>
                <c:pt idx="14">
                  <c:v>155</c:v>
                </c:pt>
                <c:pt idx="15">
                  <c:v>156</c:v>
                </c:pt>
                <c:pt idx="16">
                  <c:v>148</c:v>
                </c:pt>
                <c:pt idx="17">
                  <c:v>150</c:v>
                </c:pt>
                <c:pt idx="18">
                  <c:v>151</c:v>
                </c:pt>
                <c:pt idx="19">
                  <c:v>149</c:v>
                </c:pt>
                <c:pt idx="20">
                  <c:v>142</c:v>
                </c:pt>
                <c:pt idx="21">
                  <c:v>128</c:v>
                </c:pt>
                <c:pt idx="22">
                  <c:v>120</c:v>
                </c:pt>
                <c:pt idx="23">
                  <c:v>105</c:v>
                </c:pt>
                <c:pt idx="24">
                  <c:v>105</c:v>
                </c:pt>
                <c:pt idx="25">
                  <c:v>99</c:v>
                </c:pt>
                <c:pt idx="26">
                  <c:v>114</c:v>
                </c:pt>
                <c:pt idx="27">
                  <c:v>107</c:v>
                </c:pt>
                <c:pt idx="28">
                  <c:v>106</c:v>
                </c:pt>
                <c:pt idx="29">
                  <c:v>93</c:v>
                </c:pt>
                <c:pt idx="30">
                  <c:v>87</c:v>
                </c:pt>
                <c:pt idx="31">
                  <c:v>84</c:v>
                </c:pt>
                <c:pt idx="32">
                  <c:v>79</c:v>
                </c:pt>
                <c:pt idx="33">
                  <c:v>81</c:v>
                </c:pt>
                <c:pt idx="34">
                  <c:v>73</c:v>
                </c:pt>
                <c:pt idx="35">
                  <c:v>67</c:v>
                </c:pt>
                <c:pt idx="36">
                  <c:v>69</c:v>
                </c:pt>
                <c:pt idx="37">
                  <c:v>68</c:v>
                </c:pt>
                <c:pt idx="38">
                  <c:v>70</c:v>
                </c:pt>
                <c:pt idx="39">
                  <c:v>71</c:v>
                </c:pt>
                <c:pt idx="40">
                  <c:v>76</c:v>
                </c:pt>
                <c:pt idx="41">
                  <c:v>64</c:v>
                </c:pt>
                <c:pt idx="42">
                  <c:v>53</c:v>
                </c:pt>
                <c:pt idx="43">
                  <c:v>51</c:v>
                </c:pt>
                <c:pt idx="44">
                  <c:v>46</c:v>
                </c:pt>
                <c:pt idx="45">
                  <c:v>42</c:v>
                </c:pt>
                <c:pt idx="46">
                  <c:v>39</c:v>
                </c:pt>
                <c:pt idx="47">
                  <c:v>40</c:v>
                </c:pt>
                <c:pt idx="48">
                  <c:v>41</c:v>
                </c:pt>
                <c:pt idx="49">
                  <c:v>41</c:v>
                </c:pt>
                <c:pt idx="50">
                  <c:v>44</c:v>
                </c:pt>
                <c:pt idx="51">
                  <c:v>39</c:v>
                </c:pt>
                <c:pt idx="52">
                  <c:v>41</c:v>
                </c:pt>
                <c:pt idx="53">
                  <c:v>39</c:v>
                </c:pt>
                <c:pt idx="54">
                  <c:v>35</c:v>
                </c:pt>
                <c:pt idx="55">
                  <c:v>37</c:v>
                </c:pt>
                <c:pt idx="56">
                  <c:v>35</c:v>
                </c:pt>
                <c:pt idx="57">
                  <c:v>39</c:v>
                </c:pt>
                <c:pt idx="58">
                  <c:v>39</c:v>
                </c:pt>
                <c:pt idx="59">
                  <c:v>37</c:v>
                </c:pt>
                <c:pt idx="60">
                  <c:v>41</c:v>
                </c:pt>
                <c:pt idx="61">
                  <c:v>45</c:v>
                </c:pt>
                <c:pt idx="62">
                  <c:v>47</c:v>
                </c:pt>
                <c:pt idx="63">
                  <c:v>45</c:v>
                </c:pt>
                <c:pt idx="64">
                  <c:v>49</c:v>
                </c:pt>
                <c:pt idx="65">
                  <c:v>43</c:v>
                </c:pt>
                <c:pt idx="66">
                  <c:v>45</c:v>
                </c:pt>
                <c:pt idx="67">
                  <c:v>49</c:v>
                </c:pt>
                <c:pt idx="68">
                  <c:v>53</c:v>
                </c:pt>
                <c:pt idx="69">
                  <c:v>54</c:v>
                </c:pt>
                <c:pt idx="70">
                  <c:v>63</c:v>
                </c:pt>
                <c:pt idx="71">
                  <c:v>65</c:v>
                </c:pt>
                <c:pt idx="72">
                  <c:v>66</c:v>
                </c:pt>
                <c:pt idx="73">
                  <c:v>57</c:v>
                </c:pt>
                <c:pt idx="74">
                  <c:v>57</c:v>
                </c:pt>
                <c:pt idx="75">
                  <c:v>57</c:v>
                </c:pt>
                <c:pt idx="76">
                  <c:v>58</c:v>
                </c:pt>
                <c:pt idx="77">
                  <c:v>62</c:v>
                </c:pt>
                <c:pt idx="78">
                  <c:v>62</c:v>
                </c:pt>
                <c:pt idx="79">
                  <c:v>62</c:v>
                </c:pt>
                <c:pt idx="80">
                  <c:v>51</c:v>
                </c:pt>
                <c:pt idx="81">
                  <c:v>59</c:v>
                </c:pt>
                <c:pt idx="82">
                  <c:v>67</c:v>
                </c:pt>
                <c:pt idx="83">
                  <c:v>61</c:v>
                </c:pt>
                <c:pt idx="84">
                  <c:v>67</c:v>
                </c:pt>
                <c:pt idx="85">
                  <c:v>63</c:v>
                </c:pt>
                <c:pt idx="86">
                  <c:v>64</c:v>
                </c:pt>
                <c:pt idx="87">
                  <c:v>59</c:v>
                </c:pt>
                <c:pt idx="88">
                  <c:v>62</c:v>
                </c:pt>
                <c:pt idx="89">
                  <c:v>68</c:v>
                </c:pt>
                <c:pt idx="90">
                  <c:v>70</c:v>
                </c:pt>
                <c:pt idx="91">
                  <c:v>66</c:v>
                </c:pt>
                <c:pt idx="92">
                  <c:v>63</c:v>
                </c:pt>
                <c:pt idx="93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9.766661893604478</c:v>
                </c:pt>
                <c:pt idx="32">
                  <c:v>76.975650676532823</c:v>
                </c:pt>
                <c:pt idx="33">
                  <c:v>74.236375997938197</c:v>
                </c:pt>
                <c:pt idx="34">
                  <c:v>71.551151113707263</c:v>
                </c:pt>
                <c:pt idx="35">
                  <c:v>68.921946293726052</c:v>
                </c:pt>
                <c:pt idx="36">
                  <c:v>66.425242601261843</c:v>
                </c:pt>
                <c:pt idx="37">
                  <c:v>63.982147162011216</c:v>
                </c:pt>
                <c:pt idx="38">
                  <c:v>61.59401410883909</c:v>
                </c:pt>
                <c:pt idx="39">
                  <c:v>59.261967965268781</c:v>
                </c:pt>
                <c:pt idx="40">
                  <c:v>56.986982626433651</c:v>
                </c:pt>
                <c:pt idx="41">
                  <c:v>54.813797349908008</c:v>
                </c:pt>
                <c:pt idx="42">
                  <c:v>52.772683818910387</c:v>
                </c:pt>
                <c:pt idx="43">
                  <c:v>50.877973748940235</c:v>
                </c:pt>
                <c:pt idx="44">
                  <c:v>49.1342712410299</c:v>
                </c:pt>
                <c:pt idx="45">
                  <c:v>47.540793060570181</c:v>
                </c:pt>
                <c:pt idx="46">
                  <c:v>46.093806444859453</c:v>
                </c:pt>
                <c:pt idx="47">
                  <c:v>44.787912201101548</c:v>
                </c:pt>
                <c:pt idx="48">
                  <c:v>43.616280671633859</c:v>
                </c:pt>
                <c:pt idx="49">
                  <c:v>42.570961460160113</c:v>
                </c:pt>
                <c:pt idx="50">
                  <c:v>41.642931860184021</c:v>
                </c:pt>
                <c:pt idx="51">
                  <c:v>40.822949196034472</c:v>
                </c:pt>
                <c:pt idx="52">
                  <c:v>40.101440235294639</c:v>
                </c:pt>
                <c:pt idx="53">
                  <c:v>39.468979946379733</c:v>
                </c:pt>
                <c:pt idx="54">
                  <c:v>38.916592937925344</c:v>
                </c:pt>
                <c:pt idx="55">
                  <c:v>38.434802500005617</c:v>
                </c:pt>
                <c:pt idx="56">
                  <c:v>38.01243136444284</c:v>
                </c:pt>
                <c:pt idx="57">
                  <c:v>37.638376252867801</c:v>
                </c:pt>
                <c:pt idx="58">
                  <c:v>37.303025607290955</c:v>
                </c:pt>
                <c:pt idx="59">
                  <c:v>36.998292440773703</c:v>
                </c:pt>
                <c:pt idx="60">
                  <c:v>36.717324992975392</c:v>
                </c:pt>
                <c:pt idx="61">
                  <c:v>36.454305047412269</c:v>
                </c:pt>
                <c:pt idx="62">
                  <c:v>36.204216817665532</c:v>
                </c:pt>
                <c:pt idx="63">
                  <c:v>35.962439323462959</c:v>
                </c:pt>
                <c:pt idx="64">
                  <c:v>35.724942218286813</c:v>
                </c:pt>
                <c:pt idx="65">
                  <c:v>35.48844366361525</c:v>
                </c:pt>
                <c:pt idx="66">
                  <c:v>35.250244458162598</c:v>
                </c:pt>
                <c:pt idx="67">
                  <c:v>35.008278124256123</c:v>
                </c:pt>
                <c:pt idx="68">
                  <c:v>34.760971406626425</c:v>
                </c:pt>
                <c:pt idx="69">
                  <c:v>34.507135720298784</c:v>
                </c:pt>
                <c:pt idx="70">
                  <c:v>34.245959375122858</c:v>
                </c:pt>
                <c:pt idx="71">
                  <c:v>33.976932461346713</c:v>
                </c:pt>
                <c:pt idx="72">
                  <c:v>33.699790036289805</c:v>
                </c:pt>
                <c:pt idx="73">
                  <c:v>33.414430132310869</c:v>
                </c:pt>
                <c:pt idx="74">
                  <c:v>33.120904240488422</c:v>
                </c:pt>
                <c:pt idx="75">
                  <c:v>32.81943740337568</c:v>
                </c:pt>
                <c:pt idx="76">
                  <c:v>32.510378326676936</c:v>
                </c:pt>
                <c:pt idx="77">
                  <c:v>32.194139723986623</c:v>
                </c:pt>
                <c:pt idx="78">
                  <c:v>31.871125092376477</c:v>
                </c:pt>
                <c:pt idx="79">
                  <c:v>31.541744430589503</c:v>
                </c:pt>
                <c:pt idx="80">
                  <c:v>31.206394244179933</c:v>
                </c:pt>
                <c:pt idx="81">
                  <c:v>30.865527795734135</c:v>
                </c:pt>
                <c:pt idx="82">
                  <c:v>30.519634585791707</c:v>
                </c:pt>
                <c:pt idx="83">
                  <c:v>30.169201372571006</c:v>
                </c:pt>
                <c:pt idx="84">
                  <c:v>29.81471680674839</c:v>
                </c:pt>
                <c:pt idx="85">
                  <c:v>29.456656037141567</c:v>
                </c:pt>
                <c:pt idx="86">
                  <c:v>29.095474047072205</c:v>
                </c:pt>
                <c:pt idx="87">
                  <c:v>28.731605167228352</c:v>
                </c:pt>
                <c:pt idx="88">
                  <c:v>28.365462973426496</c:v>
                </c:pt>
                <c:pt idx="89">
                  <c:v>27.997423580920916</c:v>
                </c:pt>
                <c:pt idx="90">
                  <c:v>27.627845911334049</c:v>
                </c:pt>
                <c:pt idx="91">
                  <c:v>27.257073356379827</c:v>
                </c:pt>
                <c:pt idx="92">
                  <c:v>26.88543102015122</c:v>
                </c:pt>
                <c:pt idx="93">
                  <c:v>26.5132244198448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9.766661893604478</c:v>
                </c:pt>
                <c:pt idx="32">
                  <c:v>76.975650676532823</c:v>
                </c:pt>
                <c:pt idx="33">
                  <c:v>74.236375997938197</c:v>
                </c:pt>
                <c:pt idx="34">
                  <c:v>71.701182237074903</c:v>
                </c:pt>
                <c:pt idx="35">
                  <c:v>69.472944033690908</c:v>
                </c:pt>
                <c:pt idx="36">
                  <c:v>67.680646433517609</c:v>
                </c:pt>
                <c:pt idx="37">
                  <c:v>65.88834883334431</c:v>
                </c:pt>
                <c:pt idx="38">
                  <c:v>65.379014678320218</c:v>
                </c:pt>
                <c:pt idx="39">
                  <c:v>65.067870122522706</c:v>
                </c:pt>
                <c:pt idx="40">
                  <c:v>64.954750345513844</c:v>
                </c:pt>
                <c:pt idx="41">
                  <c:v>65.037381875440474</c:v>
                </c:pt>
                <c:pt idx="42">
                  <c:v>65.311652474928124</c:v>
                </c:pt>
                <c:pt idx="43">
                  <c:v>65.771511944512582</c:v>
                </c:pt>
                <c:pt idx="44">
                  <c:v>66.410234459506654</c:v>
                </c:pt>
                <c:pt idx="45">
                  <c:v>67.220052626774532</c:v>
                </c:pt>
                <c:pt idx="46">
                  <c:v>68.192859015337433</c:v>
                </c:pt>
                <c:pt idx="47">
                  <c:v>69.320622155068307</c:v>
                </c:pt>
                <c:pt idx="48">
                  <c:v>70.593689724104166</c:v>
                </c:pt>
                <c:pt idx="49">
                  <c:v>71.99866279123961</c:v>
                </c:pt>
                <c:pt idx="50">
                  <c:v>73.521363830927598</c:v>
                </c:pt>
                <c:pt idx="51">
                  <c:v>75.149135390948942</c:v>
                </c:pt>
                <c:pt idx="52">
                  <c:v>76.870802316784051</c:v>
                </c:pt>
                <c:pt idx="53">
                  <c:v>78.67617410371912</c:v>
                </c:pt>
                <c:pt idx="54">
                  <c:v>80.55574676926301</c:v>
                </c:pt>
                <c:pt idx="55">
                  <c:v>82.500366173417618</c:v>
                </c:pt>
                <c:pt idx="56">
                  <c:v>84.500589729647444</c:v>
                </c:pt>
                <c:pt idx="57">
                  <c:v>86.547067589126911</c:v>
                </c:pt>
                <c:pt idx="58">
                  <c:v>88.630851632292249</c:v>
                </c:pt>
                <c:pt idx="59">
                  <c:v>90.743145671348032</c:v>
                </c:pt>
                <c:pt idx="60">
                  <c:v>92.875451553528364</c:v>
                </c:pt>
                <c:pt idx="61">
                  <c:v>95.019391479592002</c:v>
                </c:pt>
                <c:pt idx="62">
                  <c:v>97.166588013078609</c:v>
                </c:pt>
                <c:pt idx="63">
                  <c:v>99.308501917928382</c:v>
                </c:pt>
                <c:pt idx="64">
                  <c:v>101.43643375832423</c:v>
                </c:pt>
                <c:pt idx="65">
                  <c:v>103.54157807869315</c:v>
                </c:pt>
                <c:pt idx="66">
                  <c:v>105.61499127763106</c:v>
                </c:pt>
                <c:pt idx="67">
                  <c:v>107.64767068939733</c:v>
                </c:pt>
                <c:pt idx="68">
                  <c:v>109.63067988653043</c:v>
                </c:pt>
                <c:pt idx="69">
                  <c:v>111.55515163314836</c:v>
                </c:pt>
                <c:pt idx="70">
                  <c:v>113.41270997354873</c:v>
                </c:pt>
                <c:pt idx="71">
                  <c:v>115.19531886231267</c:v>
                </c:pt>
                <c:pt idx="72">
                  <c:v>116.8952736785135</c:v>
                </c:pt>
                <c:pt idx="73">
                  <c:v>118.50517526204769</c:v>
                </c:pt>
                <c:pt idx="74">
                  <c:v>120.01809254956306</c:v>
                </c:pt>
                <c:pt idx="75">
                  <c:v>121.42757784209552</c:v>
                </c:pt>
                <c:pt idx="76">
                  <c:v>122.72765714320819</c:v>
                </c:pt>
                <c:pt idx="77">
                  <c:v>123.91289051779424</c:v>
                </c:pt>
                <c:pt idx="78">
                  <c:v>124.9783989293857</c:v>
                </c:pt>
                <c:pt idx="79">
                  <c:v>125.9198902450435</c:v>
                </c:pt>
                <c:pt idx="80">
                  <c:v>126.73369004383751</c:v>
                </c:pt>
                <c:pt idx="81">
                  <c:v>127.41676437797896</c:v>
                </c:pt>
                <c:pt idx="82">
                  <c:v>127.96671371570091</c:v>
                </c:pt>
                <c:pt idx="83">
                  <c:v>128.38182281118333</c:v>
                </c:pt>
                <c:pt idx="84">
                  <c:v>128.66106396280642</c:v>
                </c:pt>
                <c:pt idx="85">
                  <c:v>128.80407663101334</c:v>
                </c:pt>
                <c:pt idx="86">
                  <c:v>128.8111570110172</c:v>
                </c:pt>
                <c:pt idx="87">
                  <c:v>128.68325634528924</c:v>
                </c:pt>
                <c:pt idx="88">
                  <c:v>128.42197227101775</c:v>
                </c:pt>
                <c:pt idx="89">
                  <c:v>128.02953338320629</c:v>
                </c:pt>
                <c:pt idx="90">
                  <c:v>127.50877656934298</c:v>
                </c:pt>
                <c:pt idx="91">
                  <c:v>126.86311776644341</c:v>
                </c:pt>
                <c:pt idx="92">
                  <c:v>126.09651285628114</c:v>
                </c:pt>
                <c:pt idx="93">
                  <c:v>125.213417465921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9.766661893604478</c:v>
                </c:pt>
                <c:pt idx="32">
                  <c:v>76.975650676532823</c:v>
                </c:pt>
                <c:pt idx="33">
                  <c:v>74.236375997938197</c:v>
                </c:pt>
                <c:pt idx="34">
                  <c:v>71.701182237074903</c:v>
                </c:pt>
                <c:pt idx="35">
                  <c:v>69.472944033690908</c:v>
                </c:pt>
                <c:pt idx="36">
                  <c:v>67.680646433517609</c:v>
                </c:pt>
                <c:pt idx="37">
                  <c:v>66.2694747360473</c:v>
                </c:pt>
                <c:pt idx="38">
                  <c:v>65.250806425999087</c:v>
                </c:pt>
                <c:pt idx="39">
                  <c:v>64.62851731440405</c:v>
                </c:pt>
                <c:pt idx="40">
                  <c:v>64.402277760386355</c:v>
                </c:pt>
                <c:pt idx="41">
                  <c:v>64.567540820239614</c:v>
                </c:pt>
                <c:pt idx="42">
                  <c:v>65.116082019214915</c:v>
                </c:pt>
                <c:pt idx="43">
                  <c:v>66.035800958383845</c:v>
                </c:pt>
                <c:pt idx="44">
                  <c:v>67.31324598837196</c:v>
                </c:pt>
                <c:pt idx="45">
                  <c:v>68.932882322907687</c:v>
                </c:pt>
                <c:pt idx="46">
                  <c:v>70.878495100033533</c:v>
                </c:pt>
                <c:pt idx="47">
                  <c:v>73.134021379495266</c:v>
                </c:pt>
                <c:pt idx="48">
                  <c:v>75.680156517566999</c:v>
                </c:pt>
                <c:pt idx="49">
                  <c:v>78.490102651837887</c:v>
                </c:pt>
                <c:pt idx="50">
                  <c:v>81.535504731213877</c:v>
                </c:pt>
                <c:pt idx="51">
                  <c:v>84.79104785125655</c:v>
                </c:pt>
                <c:pt idx="52">
                  <c:v>88.234381702926754</c:v>
                </c:pt>
                <c:pt idx="53">
                  <c:v>91.845125276796907</c:v>
                </c:pt>
                <c:pt idx="54">
                  <c:v>95.604270607884629</c:v>
                </c:pt>
                <c:pt idx="55">
                  <c:v>99.493509416193845</c:v>
                </c:pt>
                <c:pt idx="56">
                  <c:v>103.49395652865354</c:v>
                </c:pt>
                <c:pt idx="57">
                  <c:v>107.58691224761249</c:v>
                </c:pt>
                <c:pt idx="58">
                  <c:v>111.75448033394315</c:v>
                </c:pt>
                <c:pt idx="59">
                  <c:v>115.97906841205472</c:v>
                </c:pt>
                <c:pt idx="60">
                  <c:v>120.24368017641542</c:v>
                </c:pt>
                <c:pt idx="61">
                  <c:v>124.53156002854267</c:v>
                </c:pt>
                <c:pt idx="62">
                  <c:v>128.8259530955159</c:v>
                </c:pt>
                <c:pt idx="63">
                  <c:v>133.10978090521542</c:v>
                </c:pt>
                <c:pt idx="64">
                  <c:v>137.36564458600708</c:v>
                </c:pt>
                <c:pt idx="65">
                  <c:v>141.57593322674492</c:v>
                </c:pt>
                <c:pt idx="66">
                  <c:v>145.72275962462078</c:v>
                </c:pt>
                <c:pt idx="67">
                  <c:v>149.78811844815328</c:v>
                </c:pt>
                <c:pt idx="68">
                  <c:v>153.75413684241946</c:v>
                </c:pt>
                <c:pt idx="69">
                  <c:v>157.60308033565536</c:v>
                </c:pt>
                <c:pt idx="70">
                  <c:v>161.31819701645605</c:v>
                </c:pt>
                <c:pt idx="71">
                  <c:v>164.88341479398403</c:v>
                </c:pt>
                <c:pt idx="72">
                  <c:v>168.28332442638569</c:v>
                </c:pt>
                <c:pt idx="73">
                  <c:v>171.50312759345402</c:v>
                </c:pt>
                <c:pt idx="74">
                  <c:v>174.52896216848481</c:v>
                </c:pt>
                <c:pt idx="75">
                  <c:v>177.34793275354966</c:v>
                </c:pt>
                <c:pt idx="76">
                  <c:v>179.94809135577509</c:v>
                </c:pt>
                <c:pt idx="77">
                  <c:v>182.31855810494707</c:v>
                </c:pt>
                <c:pt idx="78">
                  <c:v>184.44957492813003</c:v>
                </c:pt>
                <c:pt idx="79">
                  <c:v>186.3325575594456</c:v>
                </c:pt>
                <c:pt idx="80">
                  <c:v>187.96015715703368</c:v>
                </c:pt>
                <c:pt idx="81">
                  <c:v>189.32630582531658</c:v>
                </c:pt>
                <c:pt idx="82">
                  <c:v>190.42620450076049</c:v>
                </c:pt>
                <c:pt idx="83">
                  <c:v>191.25642269172533</c:v>
                </c:pt>
                <c:pt idx="84">
                  <c:v>191.81490499497141</c:v>
                </c:pt>
                <c:pt idx="85">
                  <c:v>192.10093033138534</c:v>
                </c:pt>
                <c:pt idx="86">
                  <c:v>192.11509109139303</c:v>
                </c:pt>
                <c:pt idx="87">
                  <c:v>191.8592897599371</c:v>
                </c:pt>
                <c:pt idx="88">
                  <c:v>191.33672161139413</c:v>
                </c:pt>
                <c:pt idx="89">
                  <c:v>190.55184383577119</c:v>
                </c:pt>
                <c:pt idx="90">
                  <c:v>189.51033020804465</c:v>
                </c:pt>
                <c:pt idx="91">
                  <c:v>188.21901260224544</c:v>
                </c:pt>
                <c:pt idx="92">
                  <c:v>186.68580278192087</c:v>
                </c:pt>
                <c:pt idx="93">
                  <c:v>184.919612001201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77</c:v>
                </c:pt>
                <c:pt idx="1">
                  <c:v>71</c:v>
                </c:pt>
                <c:pt idx="2">
                  <c:v>71</c:v>
                </c:pt>
                <c:pt idx="3">
                  <c:v>69</c:v>
                </c:pt>
                <c:pt idx="4">
                  <c:v>72</c:v>
                </c:pt>
                <c:pt idx="5">
                  <c:v>65</c:v>
                </c:pt>
                <c:pt idx="6">
                  <c:v>63</c:v>
                </c:pt>
                <c:pt idx="7">
                  <c:v>57</c:v>
                </c:pt>
                <c:pt idx="8">
                  <c:v>60</c:v>
                </c:pt>
                <c:pt idx="9">
                  <c:v>64</c:v>
                </c:pt>
                <c:pt idx="10">
                  <c:v>59</c:v>
                </c:pt>
                <c:pt idx="11">
                  <c:v>60</c:v>
                </c:pt>
                <c:pt idx="12">
                  <c:v>62</c:v>
                </c:pt>
                <c:pt idx="13">
                  <c:v>64</c:v>
                </c:pt>
                <c:pt idx="14">
                  <c:v>64</c:v>
                </c:pt>
                <c:pt idx="15">
                  <c:v>52</c:v>
                </c:pt>
                <c:pt idx="16">
                  <c:v>53</c:v>
                </c:pt>
                <c:pt idx="17">
                  <c:v>53</c:v>
                </c:pt>
                <c:pt idx="18">
                  <c:v>57</c:v>
                </c:pt>
                <c:pt idx="19">
                  <c:v>63</c:v>
                </c:pt>
                <c:pt idx="20">
                  <c:v>60</c:v>
                </c:pt>
                <c:pt idx="21">
                  <c:v>61</c:v>
                </c:pt>
                <c:pt idx="22">
                  <c:v>57</c:v>
                </c:pt>
                <c:pt idx="23">
                  <c:v>44</c:v>
                </c:pt>
                <c:pt idx="24">
                  <c:v>49</c:v>
                </c:pt>
                <c:pt idx="25">
                  <c:v>47</c:v>
                </c:pt>
                <c:pt idx="26">
                  <c:v>55</c:v>
                </c:pt>
                <c:pt idx="27">
                  <c:v>51</c:v>
                </c:pt>
                <c:pt idx="28">
                  <c:v>44</c:v>
                </c:pt>
                <c:pt idx="29">
                  <c:v>41</c:v>
                </c:pt>
                <c:pt idx="30">
                  <c:v>41</c:v>
                </c:pt>
                <c:pt idx="31">
                  <c:v>41</c:v>
                </c:pt>
                <c:pt idx="32">
                  <c:v>42</c:v>
                </c:pt>
                <c:pt idx="33">
                  <c:v>44</c:v>
                </c:pt>
                <c:pt idx="34">
                  <c:v>45</c:v>
                </c:pt>
                <c:pt idx="35">
                  <c:v>35</c:v>
                </c:pt>
                <c:pt idx="36">
                  <c:v>35</c:v>
                </c:pt>
                <c:pt idx="37">
                  <c:v>30</c:v>
                </c:pt>
                <c:pt idx="38">
                  <c:v>29</c:v>
                </c:pt>
                <c:pt idx="39">
                  <c:v>27</c:v>
                </c:pt>
                <c:pt idx="40">
                  <c:v>29</c:v>
                </c:pt>
                <c:pt idx="41">
                  <c:v>27</c:v>
                </c:pt>
                <c:pt idx="42">
                  <c:v>26</c:v>
                </c:pt>
                <c:pt idx="43">
                  <c:v>24</c:v>
                </c:pt>
                <c:pt idx="44">
                  <c:v>23</c:v>
                </c:pt>
                <c:pt idx="45">
                  <c:v>22</c:v>
                </c:pt>
                <c:pt idx="46">
                  <c:v>21</c:v>
                </c:pt>
                <c:pt idx="47">
                  <c:v>22</c:v>
                </c:pt>
                <c:pt idx="48">
                  <c:v>17</c:v>
                </c:pt>
                <c:pt idx="49">
                  <c:v>11</c:v>
                </c:pt>
                <c:pt idx="50">
                  <c:v>10</c:v>
                </c:pt>
                <c:pt idx="51">
                  <c:v>12</c:v>
                </c:pt>
                <c:pt idx="52">
                  <c:v>13</c:v>
                </c:pt>
                <c:pt idx="53">
                  <c:v>11</c:v>
                </c:pt>
                <c:pt idx="54">
                  <c:v>10</c:v>
                </c:pt>
                <c:pt idx="55">
                  <c:v>12</c:v>
                </c:pt>
                <c:pt idx="56">
                  <c:v>13</c:v>
                </c:pt>
                <c:pt idx="57">
                  <c:v>11</c:v>
                </c:pt>
                <c:pt idx="58">
                  <c:v>13</c:v>
                </c:pt>
                <c:pt idx="59">
                  <c:v>11</c:v>
                </c:pt>
                <c:pt idx="60">
                  <c:v>11</c:v>
                </c:pt>
                <c:pt idx="61">
                  <c:v>13</c:v>
                </c:pt>
                <c:pt idx="62">
                  <c:v>14</c:v>
                </c:pt>
                <c:pt idx="63">
                  <c:v>20</c:v>
                </c:pt>
                <c:pt idx="64">
                  <c:v>15</c:v>
                </c:pt>
                <c:pt idx="65">
                  <c:v>17</c:v>
                </c:pt>
                <c:pt idx="66">
                  <c:v>20</c:v>
                </c:pt>
                <c:pt idx="67">
                  <c:v>21</c:v>
                </c:pt>
                <c:pt idx="68">
                  <c:v>25</c:v>
                </c:pt>
                <c:pt idx="69">
                  <c:v>25</c:v>
                </c:pt>
                <c:pt idx="70">
                  <c:v>21</c:v>
                </c:pt>
                <c:pt idx="71">
                  <c:v>19</c:v>
                </c:pt>
                <c:pt idx="72">
                  <c:v>23</c:v>
                </c:pt>
                <c:pt idx="73">
                  <c:v>24</c:v>
                </c:pt>
                <c:pt idx="74">
                  <c:v>25</c:v>
                </c:pt>
                <c:pt idx="75">
                  <c:v>28</c:v>
                </c:pt>
                <c:pt idx="76">
                  <c:v>31</c:v>
                </c:pt>
                <c:pt idx="77">
                  <c:v>32</c:v>
                </c:pt>
                <c:pt idx="78">
                  <c:v>28</c:v>
                </c:pt>
                <c:pt idx="79">
                  <c:v>28</c:v>
                </c:pt>
                <c:pt idx="80">
                  <c:v>27</c:v>
                </c:pt>
                <c:pt idx="81">
                  <c:v>27</c:v>
                </c:pt>
                <c:pt idx="82">
                  <c:v>26</c:v>
                </c:pt>
                <c:pt idx="83">
                  <c:v>23</c:v>
                </c:pt>
                <c:pt idx="84">
                  <c:v>21</c:v>
                </c:pt>
                <c:pt idx="85">
                  <c:v>21</c:v>
                </c:pt>
                <c:pt idx="86">
                  <c:v>15</c:v>
                </c:pt>
                <c:pt idx="87">
                  <c:v>14</c:v>
                </c:pt>
                <c:pt idx="88">
                  <c:v>13</c:v>
                </c:pt>
                <c:pt idx="89">
                  <c:v>11</c:v>
                </c:pt>
                <c:pt idx="90">
                  <c:v>10</c:v>
                </c:pt>
                <c:pt idx="91">
                  <c:v>9</c:v>
                </c:pt>
                <c:pt idx="92">
                  <c:v>10</c:v>
                </c:pt>
                <c:pt idx="9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5.629108979143332</c:v>
                </c:pt>
                <c:pt idx="32">
                  <c:v>34.382457302184662</c:v>
                </c:pt>
                <c:pt idx="33">
                  <c:v>33.158914612412396</c:v>
                </c:pt>
                <c:pt idx="34">
                  <c:v>31.959514164122577</c:v>
                </c:pt>
                <c:pt idx="35">
                  <c:v>30.785136011197636</c:v>
                </c:pt>
                <c:pt idx="36">
                  <c:v>29.669941695230289</c:v>
                </c:pt>
                <c:pt idx="37">
                  <c:v>28.578692399031677</c:v>
                </c:pt>
                <c:pt idx="38">
                  <c:v>27.511992968614795</c:v>
                </c:pt>
                <c:pt idx="39">
                  <c:v>26.470345691153391</c:v>
                </c:pt>
                <c:pt idx="40">
                  <c:v>25.454185573140364</c:v>
                </c:pt>
                <c:pt idx="41">
                  <c:v>24.483496149625577</c:v>
                </c:pt>
                <c:pt idx="42">
                  <c:v>23.571798772446641</c:v>
                </c:pt>
                <c:pt idx="43">
                  <c:v>22.725494941193304</c:v>
                </c:pt>
                <c:pt idx="44">
                  <c:v>21.946641154326688</c:v>
                </c:pt>
                <c:pt idx="45">
                  <c:v>21.234887567054681</c:v>
                </c:pt>
                <c:pt idx="46">
                  <c:v>20.58856687870389</c:v>
                </c:pt>
                <c:pt idx="47">
                  <c:v>20.005267449825361</c:v>
                </c:pt>
                <c:pt idx="48">
                  <c:v>19.481938699996459</c:v>
                </c:pt>
                <c:pt idx="49">
                  <c:v>19.01502945220485</c:v>
                </c:pt>
                <c:pt idx="50">
                  <c:v>18.600509564215528</c:v>
                </c:pt>
                <c:pt idx="51">
                  <c:v>18.234250640895397</c:v>
                </c:pt>
                <c:pt idx="52">
                  <c:v>17.911976638431604</c:v>
                </c:pt>
                <c:pt idx="53">
                  <c:v>17.629477709382947</c:v>
                </c:pt>
                <c:pt idx="54">
                  <c:v>17.382744845606652</c:v>
                </c:pt>
                <c:pt idx="55">
                  <c:v>17.167545116669174</c:v>
                </c:pt>
                <c:pt idx="56">
                  <c:v>16.978886009451138</c:v>
                </c:pt>
                <c:pt idx="57">
                  <c:v>16.811808059614282</c:v>
                </c:pt>
                <c:pt idx="58">
                  <c:v>16.662018104589958</c:v>
                </c:pt>
                <c:pt idx="59">
                  <c:v>16.525903956878921</c:v>
                </c:pt>
                <c:pt idx="60">
                  <c:v>16.400405163529008</c:v>
                </c:pt>
                <c:pt idx="61">
                  <c:v>16.28292292117748</c:v>
                </c:pt>
                <c:pt idx="62">
                  <c:v>16.171216845223938</c:v>
                </c:pt>
                <c:pt idx="63">
                  <c:v>16.063222897813457</c:v>
                </c:pt>
                <c:pt idx="64">
                  <c:v>15.957140857501445</c:v>
                </c:pt>
                <c:pt idx="65">
                  <c:v>15.851504836414811</c:v>
                </c:pt>
                <c:pt idx="66">
                  <c:v>15.745109191312627</c:v>
                </c:pt>
                <c:pt idx="67">
                  <c:v>15.63703089550107</c:v>
                </c:pt>
                <c:pt idx="68">
                  <c:v>15.526567228293137</c:v>
                </c:pt>
                <c:pt idx="69">
                  <c:v>15.413187288400124</c:v>
                </c:pt>
                <c:pt idx="70">
                  <c:v>15.296528520888211</c:v>
                </c:pt>
                <c:pt idx="71">
                  <c:v>15.176363166068198</c:v>
                </c:pt>
                <c:pt idx="72">
                  <c:v>15.052572882876113</c:v>
                </c:pt>
                <c:pt idx="73">
                  <c:v>14.925112125765523</c:v>
                </c:pt>
                <c:pt idx="74">
                  <c:v>14.794003894084829</c:v>
                </c:pt>
                <c:pt idx="75">
                  <c:v>14.659348706841138</c:v>
                </c:pt>
                <c:pt idx="76">
                  <c:v>14.521302319249033</c:v>
                </c:pt>
                <c:pt idx="77">
                  <c:v>14.380049076714025</c:v>
                </c:pt>
                <c:pt idx="78">
                  <c:v>14.235769207928159</c:v>
                </c:pt>
                <c:pt idx="79">
                  <c:v>14.088645845663311</c:v>
                </c:pt>
                <c:pt idx="80">
                  <c:v>13.938856095733705</c:v>
                </c:pt>
                <c:pt idx="81">
                  <c:v>13.786602415427913</c:v>
                </c:pt>
                <c:pt idx="82">
                  <c:v>13.632103448320295</c:v>
                </c:pt>
                <c:pt idx="83">
                  <c:v>13.475576613081717</c:v>
                </c:pt>
                <c:pt idx="84">
                  <c:v>13.317240173680947</c:v>
                </c:pt>
                <c:pt idx="85">
                  <c:v>13.157306363256566</c:v>
                </c:pt>
                <c:pt idx="86">
                  <c:v>12.995978407692251</c:v>
                </c:pt>
                <c:pt idx="87">
                  <c:v>12.833450308028663</c:v>
                </c:pt>
                <c:pt idx="88">
                  <c:v>12.66990679479717</c:v>
                </c:pt>
                <c:pt idx="89">
                  <c:v>12.505515866144675</c:v>
                </c:pt>
                <c:pt idx="90">
                  <c:v>12.340437840395875</c:v>
                </c:pt>
                <c:pt idx="91">
                  <c:v>12.174826099182988</c:v>
                </c:pt>
                <c:pt idx="92">
                  <c:v>12.008825855667544</c:v>
                </c:pt>
                <c:pt idx="93">
                  <c:v>11.8425735741973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5.629108979143332</c:v>
                </c:pt>
                <c:pt idx="32">
                  <c:v>34.382457302184662</c:v>
                </c:pt>
                <c:pt idx="33">
                  <c:v>33.158914612412396</c:v>
                </c:pt>
                <c:pt idx="34">
                  <c:v>32.026528065893451</c:v>
                </c:pt>
                <c:pt idx="35">
                  <c:v>31.031248335048605</c:v>
                </c:pt>
                <c:pt idx="36">
                  <c:v>30.230688740304533</c:v>
                </c:pt>
                <c:pt idx="37">
                  <c:v>29.430129145560461</c:v>
                </c:pt>
                <c:pt idx="38">
                  <c:v>29.202626556316364</c:v>
                </c:pt>
                <c:pt idx="39">
                  <c:v>29.063648654726808</c:v>
                </c:pt>
                <c:pt idx="40">
                  <c:v>29.013121820996187</c:v>
                </c:pt>
                <c:pt idx="41">
                  <c:v>29.050030571030078</c:v>
                </c:pt>
                <c:pt idx="42">
                  <c:v>29.172538105467893</c:v>
                </c:pt>
                <c:pt idx="43">
                  <c:v>29.377942001882289</c:v>
                </c:pt>
                <c:pt idx="44">
                  <c:v>29.663238058579637</c:v>
                </c:pt>
                <c:pt idx="45">
                  <c:v>30.024956839959287</c:v>
                </c:pt>
                <c:pt idx="46">
                  <c:v>30.45947702685072</c:v>
                </c:pt>
                <c:pt idx="47">
                  <c:v>30.963211229263841</c:v>
                </c:pt>
                <c:pt idx="48">
                  <c:v>31.531848076766526</c:v>
                </c:pt>
                <c:pt idx="49">
                  <c:v>32.159402713420363</c:v>
                </c:pt>
                <c:pt idx="50">
                  <c:v>32.839542511147663</c:v>
                </c:pt>
                <c:pt idx="51">
                  <c:v>33.566613807957197</c:v>
                </c:pt>
                <c:pt idx="52">
                  <c:v>34.335625034830215</c:v>
                </c:pt>
                <c:pt idx="53">
                  <c:v>35.142024432994546</c:v>
                </c:pt>
                <c:pt idx="54">
                  <c:v>35.981566890270813</c:v>
                </c:pt>
                <c:pt idx="55">
                  <c:v>36.850163557459865</c:v>
                </c:pt>
                <c:pt idx="56">
                  <c:v>37.743596745909187</c:v>
                </c:pt>
                <c:pt idx="57">
                  <c:v>38.657690189810019</c:v>
                </c:pt>
                <c:pt idx="58">
                  <c:v>39.588447062423874</c:v>
                </c:pt>
                <c:pt idx="59">
                  <c:v>40.531938399868793</c:v>
                </c:pt>
                <c:pt idx="60">
                  <c:v>41.484368360576006</c:v>
                </c:pt>
                <c:pt idx="61">
                  <c:v>42.441994860884428</c:v>
                </c:pt>
                <c:pt idx="62">
                  <c:v>43.401075979175118</c:v>
                </c:pt>
                <c:pt idx="63">
                  <c:v>44.357797523341347</c:v>
                </c:pt>
                <c:pt idx="64">
                  <c:v>45.308273745384824</c:v>
                </c:pt>
                <c:pt idx="65">
                  <c:v>46.248571541816275</c:v>
                </c:pt>
                <c:pt idx="66">
                  <c:v>47.174696104008547</c:v>
                </c:pt>
                <c:pt idx="67">
                  <c:v>48.082626241264137</c:v>
                </c:pt>
                <c:pt idx="68">
                  <c:v>48.96837034931692</c:v>
                </c:pt>
                <c:pt idx="69">
                  <c:v>49.827967729472931</c:v>
                </c:pt>
                <c:pt idx="70">
                  <c:v>50.657677121518432</c:v>
                </c:pt>
                <c:pt idx="71">
                  <c:v>51.453909091832998</c:v>
                </c:pt>
                <c:pt idx="72">
                  <c:v>52.213222243069367</c:v>
                </c:pt>
                <c:pt idx="73">
                  <c:v>52.932311617047965</c:v>
                </c:pt>
                <c:pt idx="74">
                  <c:v>53.608081338804837</c:v>
                </c:pt>
                <c:pt idx="75">
                  <c:v>54.237651436135998</c:v>
                </c:pt>
                <c:pt idx="76">
                  <c:v>54.81835352396633</c:v>
                </c:pt>
                <c:pt idx="77">
                  <c:v>55.347757764614762</c:v>
                </c:pt>
                <c:pt idx="78">
                  <c:v>55.823684855125613</c:v>
                </c:pt>
                <c:pt idx="79">
                  <c:v>56.244217642786097</c:v>
                </c:pt>
                <c:pt idx="80">
                  <c:v>56.607714886247422</c:v>
                </c:pt>
                <c:pt idx="81">
                  <c:v>56.912821422163937</c:v>
                </c:pt>
                <c:pt idx="82">
                  <c:v>57.158465459679739</c:v>
                </c:pt>
                <c:pt idx="83">
                  <c:v>57.343880855661894</c:v>
                </c:pt>
                <c:pt idx="84">
                  <c:v>57.468608570053533</c:v>
                </c:pt>
                <c:pt idx="85">
                  <c:v>57.532487561852626</c:v>
                </c:pt>
                <c:pt idx="86">
                  <c:v>57.535650131587687</c:v>
                </c:pt>
                <c:pt idx="87">
                  <c:v>57.478521167562533</c:v>
                </c:pt>
                <c:pt idx="88">
                  <c:v>57.361814281054592</c:v>
                </c:pt>
                <c:pt idx="89">
                  <c:v>57.186524911165478</c:v>
                </c:pt>
                <c:pt idx="90">
                  <c:v>56.953920200973201</c:v>
                </c:pt>
                <c:pt idx="91">
                  <c:v>56.665525935678055</c:v>
                </c:pt>
                <c:pt idx="92">
                  <c:v>56.323109075805576</c:v>
                </c:pt>
                <c:pt idx="93">
                  <c:v>55.9286598014448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5.629108979143332</c:v>
                </c:pt>
                <c:pt idx="32">
                  <c:v>34.382457302184662</c:v>
                </c:pt>
                <c:pt idx="33">
                  <c:v>33.158914612412396</c:v>
                </c:pt>
                <c:pt idx="34">
                  <c:v>32.026528065893451</c:v>
                </c:pt>
                <c:pt idx="35">
                  <c:v>31.031248335048605</c:v>
                </c:pt>
                <c:pt idx="36">
                  <c:v>30.230688740304533</c:v>
                </c:pt>
                <c:pt idx="37">
                  <c:v>29.600365382101128</c:v>
                </c:pt>
                <c:pt idx="38">
                  <c:v>29.145360203612924</c:v>
                </c:pt>
                <c:pt idx="39">
                  <c:v>28.867404400433813</c:v>
                </c:pt>
                <c:pt idx="40">
                  <c:v>28.766350732972573</c:v>
                </c:pt>
                <c:pt idx="41">
                  <c:v>28.840168233040359</c:v>
                </c:pt>
                <c:pt idx="42">
                  <c:v>29.085183301915993</c:v>
                </c:pt>
                <c:pt idx="43">
                  <c:v>29.495991094744785</c:v>
                </c:pt>
                <c:pt idx="44">
                  <c:v>30.066583208139473</c:v>
                </c:pt>
                <c:pt idx="45">
                  <c:v>30.790020770898771</c:v>
                </c:pt>
                <c:pt idx="46">
                  <c:v>31.659061144681644</c:v>
                </c:pt>
                <c:pt idx="47">
                  <c:v>32.666529549507885</c:v>
                </c:pt>
                <c:pt idx="48">
                  <c:v>33.803803244513261</c:v>
                </c:pt>
                <c:pt idx="49">
                  <c:v>35.058912517820929</c:v>
                </c:pt>
                <c:pt idx="50">
                  <c:v>36.419192113275528</c:v>
                </c:pt>
                <c:pt idx="51">
                  <c:v>37.873334706894596</c:v>
                </c:pt>
                <c:pt idx="52">
                  <c:v>39.41135716064062</c:v>
                </c:pt>
                <c:pt idx="53">
                  <c:v>41.024155956969288</c:v>
                </c:pt>
                <c:pt idx="54">
                  <c:v>42.703240871521807</c:v>
                </c:pt>
                <c:pt idx="55">
                  <c:v>44.440434205899919</c:v>
                </c:pt>
                <c:pt idx="56">
                  <c:v>46.227300582798584</c:v>
                </c:pt>
                <c:pt idx="57">
                  <c:v>48.055487470600248</c:v>
                </c:pt>
                <c:pt idx="58">
                  <c:v>49.917001215827945</c:v>
                </c:pt>
                <c:pt idx="59">
                  <c:v>51.803983890717774</c:v>
                </c:pt>
                <c:pt idx="60">
                  <c:v>53.708843812132223</c:v>
                </c:pt>
                <c:pt idx="61">
                  <c:v>55.624096812749059</c:v>
                </c:pt>
                <c:pt idx="62">
                  <c:v>57.54225904933044</c:v>
                </c:pt>
                <c:pt idx="63">
                  <c:v>59.45570213766289</c:v>
                </c:pt>
                <c:pt idx="64">
                  <c:v>61.356654581749829</c:v>
                </c:pt>
                <c:pt idx="65">
                  <c:v>63.23725017461274</c:v>
                </c:pt>
                <c:pt idx="66">
                  <c:v>65.089499298997282</c:v>
                </c:pt>
                <c:pt idx="67">
                  <c:v>66.905359573508477</c:v>
                </c:pt>
                <c:pt idx="68">
                  <c:v>68.67684778961403</c:v>
                </c:pt>
                <c:pt idx="69">
                  <c:v>70.396042549926065</c:v>
                </c:pt>
                <c:pt idx="70">
                  <c:v>72.055461334017039</c:v>
                </c:pt>
                <c:pt idx="71">
                  <c:v>73.647925274646198</c:v>
                </c:pt>
                <c:pt idx="72">
                  <c:v>75.166551577118952</c:v>
                </c:pt>
                <c:pt idx="73">
                  <c:v>76.604730325076133</c:v>
                </c:pt>
                <c:pt idx="74">
                  <c:v>77.956269768589891</c:v>
                </c:pt>
                <c:pt idx="75">
                  <c:v>79.215409963252185</c:v>
                </c:pt>
                <c:pt idx="76">
                  <c:v>80.376814138912877</c:v>
                </c:pt>
                <c:pt idx="77">
                  <c:v>81.435622620209699</c:v>
                </c:pt>
                <c:pt idx="78">
                  <c:v>82.387476801231415</c:v>
                </c:pt>
                <c:pt idx="79">
                  <c:v>83.228542376552369</c:v>
                </c:pt>
                <c:pt idx="80">
                  <c:v>83.955536863475047</c:v>
                </c:pt>
                <c:pt idx="81">
                  <c:v>84.565749935308077</c:v>
                </c:pt>
                <c:pt idx="82">
                  <c:v>85.057038010339681</c:v>
                </c:pt>
                <c:pt idx="83">
                  <c:v>85.427868802303976</c:v>
                </c:pt>
                <c:pt idx="84">
                  <c:v>85.67732423108724</c:v>
                </c:pt>
                <c:pt idx="85">
                  <c:v>85.805082214685456</c:v>
                </c:pt>
                <c:pt idx="86">
                  <c:v>85.811407354155548</c:v>
                </c:pt>
                <c:pt idx="87">
                  <c:v>85.697149426105241</c:v>
                </c:pt>
                <c:pt idx="88">
                  <c:v>85.463735653089373</c:v>
                </c:pt>
                <c:pt idx="89">
                  <c:v>85.113156913311144</c:v>
                </c:pt>
                <c:pt idx="90">
                  <c:v>84.647947492926605</c:v>
                </c:pt>
                <c:pt idx="91">
                  <c:v>84.071158962336298</c:v>
                </c:pt>
                <c:pt idx="92">
                  <c:v>83.386325242591326</c:v>
                </c:pt>
                <c:pt idx="93">
                  <c:v>82.5974266938699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63</c:v>
                </c:pt>
                <c:pt idx="1">
                  <c:v>60</c:v>
                </c:pt>
                <c:pt idx="2">
                  <c:v>61</c:v>
                </c:pt>
                <c:pt idx="3">
                  <c:v>56</c:v>
                </c:pt>
                <c:pt idx="4">
                  <c:v>57</c:v>
                </c:pt>
                <c:pt idx="5">
                  <c:v>61</c:v>
                </c:pt>
                <c:pt idx="6">
                  <c:v>60</c:v>
                </c:pt>
                <c:pt idx="7">
                  <c:v>65</c:v>
                </c:pt>
                <c:pt idx="8">
                  <c:v>60</c:v>
                </c:pt>
                <c:pt idx="9">
                  <c:v>63</c:v>
                </c:pt>
                <c:pt idx="10">
                  <c:v>59</c:v>
                </c:pt>
                <c:pt idx="11">
                  <c:v>55</c:v>
                </c:pt>
                <c:pt idx="12">
                  <c:v>55</c:v>
                </c:pt>
                <c:pt idx="13">
                  <c:v>57</c:v>
                </c:pt>
                <c:pt idx="14">
                  <c:v>57</c:v>
                </c:pt>
                <c:pt idx="15">
                  <c:v>58</c:v>
                </c:pt>
                <c:pt idx="16">
                  <c:v>55</c:v>
                </c:pt>
                <c:pt idx="17">
                  <c:v>56</c:v>
                </c:pt>
                <c:pt idx="18">
                  <c:v>59</c:v>
                </c:pt>
                <c:pt idx="19">
                  <c:v>57</c:v>
                </c:pt>
                <c:pt idx="20">
                  <c:v>61</c:v>
                </c:pt>
                <c:pt idx="21">
                  <c:v>56</c:v>
                </c:pt>
                <c:pt idx="22">
                  <c:v>53</c:v>
                </c:pt>
                <c:pt idx="23">
                  <c:v>48</c:v>
                </c:pt>
                <c:pt idx="24">
                  <c:v>44</c:v>
                </c:pt>
                <c:pt idx="25">
                  <c:v>46</c:v>
                </c:pt>
                <c:pt idx="26">
                  <c:v>45</c:v>
                </c:pt>
                <c:pt idx="27">
                  <c:v>45</c:v>
                </c:pt>
                <c:pt idx="28">
                  <c:v>44</c:v>
                </c:pt>
                <c:pt idx="29">
                  <c:v>38</c:v>
                </c:pt>
                <c:pt idx="30">
                  <c:v>38</c:v>
                </c:pt>
                <c:pt idx="31">
                  <c:v>40</c:v>
                </c:pt>
                <c:pt idx="32">
                  <c:v>39</c:v>
                </c:pt>
                <c:pt idx="33">
                  <c:v>34</c:v>
                </c:pt>
                <c:pt idx="34">
                  <c:v>35</c:v>
                </c:pt>
                <c:pt idx="35">
                  <c:v>34</c:v>
                </c:pt>
                <c:pt idx="36">
                  <c:v>36</c:v>
                </c:pt>
                <c:pt idx="37">
                  <c:v>30</c:v>
                </c:pt>
                <c:pt idx="38">
                  <c:v>27</c:v>
                </c:pt>
                <c:pt idx="39">
                  <c:v>26</c:v>
                </c:pt>
                <c:pt idx="40">
                  <c:v>27</c:v>
                </c:pt>
                <c:pt idx="41">
                  <c:v>28</c:v>
                </c:pt>
                <c:pt idx="42">
                  <c:v>23</c:v>
                </c:pt>
                <c:pt idx="43">
                  <c:v>20</c:v>
                </c:pt>
                <c:pt idx="44">
                  <c:v>16</c:v>
                </c:pt>
                <c:pt idx="45">
                  <c:v>16</c:v>
                </c:pt>
                <c:pt idx="46">
                  <c:v>16</c:v>
                </c:pt>
                <c:pt idx="47">
                  <c:v>14</c:v>
                </c:pt>
                <c:pt idx="48">
                  <c:v>13</c:v>
                </c:pt>
                <c:pt idx="49">
                  <c:v>12</c:v>
                </c:pt>
                <c:pt idx="50">
                  <c:v>12</c:v>
                </c:pt>
                <c:pt idx="51">
                  <c:v>10</c:v>
                </c:pt>
                <c:pt idx="52">
                  <c:v>11</c:v>
                </c:pt>
                <c:pt idx="53">
                  <c:v>9</c:v>
                </c:pt>
                <c:pt idx="54">
                  <c:v>9</c:v>
                </c:pt>
                <c:pt idx="55">
                  <c:v>11</c:v>
                </c:pt>
                <c:pt idx="56">
                  <c:v>8</c:v>
                </c:pt>
                <c:pt idx="57">
                  <c:v>9</c:v>
                </c:pt>
                <c:pt idx="58">
                  <c:v>10</c:v>
                </c:pt>
                <c:pt idx="59">
                  <c:v>11</c:v>
                </c:pt>
                <c:pt idx="60">
                  <c:v>16</c:v>
                </c:pt>
                <c:pt idx="61">
                  <c:v>18</c:v>
                </c:pt>
                <c:pt idx="62">
                  <c:v>20</c:v>
                </c:pt>
                <c:pt idx="63">
                  <c:v>17</c:v>
                </c:pt>
                <c:pt idx="64">
                  <c:v>15</c:v>
                </c:pt>
                <c:pt idx="65">
                  <c:v>16</c:v>
                </c:pt>
                <c:pt idx="66">
                  <c:v>12</c:v>
                </c:pt>
                <c:pt idx="67">
                  <c:v>12</c:v>
                </c:pt>
                <c:pt idx="68">
                  <c:v>14</c:v>
                </c:pt>
                <c:pt idx="69">
                  <c:v>17</c:v>
                </c:pt>
                <c:pt idx="70">
                  <c:v>18</c:v>
                </c:pt>
                <c:pt idx="71">
                  <c:v>15</c:v>
                </c:pt>
                <c:pt idx="72">
                  <c:v>13</c:v>
                </c:pt>
                <c:pt idx="73">
                  <c:v>15</c:v>
                </c:pt>
                <c:pt idx="74">
                  <c:v>14</c:v>
                </c:pt>
                <c:pt idx="75">
                  <c:v>16</c:v>
                </c:pt>
                <c:pt idx="76">
                  <c:v>17</c:v>
                </c:pt>
                <c:pt idx="77">
                  <c:v>16</c:v>
                </c:pt>
                <c:pt idx="78">
                  <c:v>17</c:v>
                </c:pt>
                <c:pt idx="79">
                  <c:v>15</c:v>
                </c:pt>
                <c:pt idx="80">
                  <c:v>17</c:v>
                </c:pt>
                <c:pt idx="81">
                  <c:v>18</c:v>
                </c:pt>
                <c:pt idx="82">
                  <c:v>18</c:v>
                </c:pt>
                <c:pt idx="83">
                  <c:v>20</c:v>
                </c:pt>
                <c:pt idx="84">
                  <c:v>22</c:v>
                </c:pt>
                <c:pt idx="85">
                  <c:v>19</c:v>
                </c:pt>
                <c:pt idx="86">
                  <c:v>15</c:v>
                </c:pt>
                <c:pt idx="87">
                  <c:v>15</c:v>
                </c:pt>
                <c:pt idx="88">
                  <c:v>15</c:v>
                </c:pt>
                <c:pt idx="89">
                  <c:v>13</c:v>
                </c:pt>
                <c:pt idx="90">
                  <c:v>17</c:v>
                </c:pt>
                <c:pt idx="91">
                  <c:v>16</c:v>
                </c:pt>
                <c:pt idx="92">
                  <c:v>12</c:v>
                </c:pt>
                <c:pt idx="93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5.451849730490878</c:v>
                </c:pt>
                <c:pt idx="32">
                  <c:v>34.211400300681248</c:v>
                </c:pt>
                <c:pt idx="33">
                  <c:v>32.993944887972532</c:v>
                </c:pt>
                <c:pt idx="34">
                  <c:v>31.800511606092115</c:v>
                </c:pt>
                <c:pt idx="35">
                  <c:v>30.63197613054491</c:v>
                </c:pt>
                <c:pt idx="36">
                  <c:v>29.522330045005262</c:v>
                </c:pt>
                <c:pt idx="37">
                  <c:v>28.436509849782762</c:v>
                </c:pt>
                <c:pt idx="38">
                  <c:v>27.375117381706261</c:v>
                </c:pt>
                <c:pt idx="39">
                  <c:v>26.338652429008345</c:v>
                </c:pt>
                <c:pt idx="40">
                  <c:v>25.32754783397051</c:v>
                </c:pt>
                <c:pt idx="41">
                  <c:v>24.361687711070225</c:v>
                </c:pt>
                <c:pt idx="42">
                  <c:v>23.454526141737951</c:v>
                </c:pt>
                <c:pt idx="43">
                  <c:v>22.612432777306768</c:v>
                </c:pt>
                <c:pt idx="44">
                  <c:v>21.837453884902178</c:v>
                </c:pt>
                <c:pt idx="45">
                  <c:v>21.129241360253413</c:v>
                </c:pt>
                <c:pt idx="46">
                  <c:v>20.486136197715311</c:v>
                </c:pt>
                <c:pt idx="47">
                  <c:v>19.905738756045132</c:v>
                </c:pt>
                <c:pt idx="48">
                  <c:v>19.385013631837271</c:v>
                </c:pt>
                <c:pt idx="49">
                  <c:v>18.920427315626714</c:v>
                </c:pt>
                <c:pt idx="50">
                  <c:v>18.507969715637341</c:v>
                </c:pt>
                <c:pt idx="51">
                  <c:v>18.143532976015319</c:v>
                </c:pt>
                <c:pt idx="52">
                  <c:v>17.822862326797615</c:v>
                </c:pt>
                <c:pt idx="53">
                  <c:v>17.541768865057659</c:v>
                </c:pt>
                <c:pt idx="54">
                  <c:v>17.296263527966818</c:v>
                </c:pt>
                <c:pt idx="55">
                  <c:v>17.08213444444694</c:v>
                </c:pt>
                <c:pt idx="56">
                  <c:v>16.894413939752376</c:v>
                </c:pt>
                <c:pt idx="57">
                  <c:v>16.728167223496797</c:v>
                </c:pt>
                <c:pt idx="58">
                  <c:v>16.579122492129311</c:v>
                </c:pt>
                <c:pt idx="59">
                  <c:v>16.443685529232756</c:v>
                </c:pt>
                <c:pt idx="60">
                  <c:v>16.318811107989063</c:v>
                </c:pt>
                <c:pt idx="61">
                  <c:v>16.201913354405452</c:v>
                </c:pt>
                <c:pt idx="62">
                  <c:v>16.090763030073571</c:v>
                </c:pt>
                <c:pt idx="63">
                  <c:v>15.983306365983537</c:v>
                </c:pt>
                <c:pt idx="64">
                  <c:v>15.877752097016362</c:v>
                </c:pt>
                <c:pt idx="65">
                  <c:v>15.772641628273444</c:v>
                </c:pt>
                <c:pt idx="66">
                  <c:v>15.666775314738931</c:v>
                </c:pt>
                <c:pt idx="67">
                  <c:v>15.559234721891611</c:v>
                </c:pt>
                <c:pt idx="68">
                  <c:v>15.449320625167299</c:v>
                </c:pt>
                <c:pt idx="69">
                  <c:v>15.336504764577237</c:v>
                </c:pt>
                <c:pt idx="70">
                  <c:v>15.220426388943492</c:v>
                </c:pt>
                <c:pt idx="71">
                  <c:v>15.100858871709649</c:v>
                </c:pt>
                <c:pt idx="72">
                  <c:v>14.977684460573245</c:v>
                </c:pt>
                <c:pt idx="73">
                  <c:v>14.850857836582609</c:v>
                </c:pt>
                <c:pt idx="74">
                  <c:v>14.720401884661522</c:v>
                </c:pt>
                <c:pt idx="75">
                  <c:v>14.586416623722524</c:v>
                </c:pt>
                <c:pt idx="76">
                  <c:v>14.449057034078638</c:v>
                </c:pt>
                <c:pt idx="77">
                  <c:v>14.308506543994053</c:v>
                </c:pt>
                <c:pt idx="78">
                  <c:v>14.164944485500657</c:v>
                </c:pt>
                <c:pt idx="79">
                  <c:v>14.018553080262</c:v>
                </c:pt>
                <c:pt idx="80">
                  <c:v>13.86950855296886</c:v>
                </c:pt>
                <c:pt idx="81">
                  <c:v>13.718012353659613</c:v>
                </c:pt>
                <c:pt idx="82">
                  <c:v>13.564282038129647</c:v>
                </c:pt>
                <c:pt idx="83">
                  <c:v>13.40853394336489</c:v>
                </c:pt>
                <c:pt idx="84">
                  <c:v>13.250985247443728</c:v>
                </c:pt>
                <c:pt idx="85">
                  <c:v>13.091847127618474</c:v>
                </c:pt>
                <c:pt idx="86">
                  <c:v>12.931321798698757</c:v>
                </c:pt>
                <c:pt idx="87">
                  <c:v>12.769602296545933</c:v>
                </c:pt>
                <c:pt idx="88">
                  <c:v>12.606872432633997</c:v>
                </c:pt>
                <c:pt idx="89">
                  <c:v>12.443299369298185</c:v>
                </c:pt>
                <c:pt idx="90">
                  <c:v>12.279042627259576</c:v>
                </c:pt>
                <c:pt idx="91">
                  <c:v>12.114254825057699</c:v>
                </c:pt>
                <c:pt idx="92">
                  <c:v>11.949080453400541</c:v>
                </c:pt>
                <c:pt idx="93">
                  <c:v>11.7836552977088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5.451849730490878</c:v>
                </c:pt>
                <c:pt idx="32">
                  <c:v>34.211400300681248</c:v>
                </c:pt>
                <c:pt idx="33">
                  <c:v>32.993944887972532</c:v>
                </c:pt>
                <c:pt idx="34">
                  <c:v>31.86719210536662</c:v>
                </c:pt>
                <c:pt idx="35">
                  <c:v>30.876864014973734</c:v>
                </c:pt>
                <c:pt idx="36">
                  <c:v>30.080287303785603</c:v>
                </c:pt>
                <c:pt idx="37">
                  <c:v>29.283710592597473</c:v>
                </c:pt>
                <c:pt idx="38">
                  <c:v>29.057339857031206</c:v>
                </c:pt>
                <c:pt idx="39">
                  <c:v>28.919053387787869</c:v>
                </c:pt>
                <c:pt idx="40">
                  <c:v>28.868777931339487</c:v>
                </c:pt>
                <c:pt idx="41">
                  <c:v>28.905503055751318</c:v>
                </c:pt>
                <c:pt idx="42">
                  <c:v>29.027401099968053</c:v>
                </c:pt>
                <c:pt idx="43">
                  <c:v>29.231783086450037</c:v>
                </c:pt>
                <c:pt idx="44">
                  <c:v>29.515659759780732</c:v>
                </c:pt>
                <c:pt idx="45">
                  <c:v>29.875578945233123</c:v>
                </c:pt>
                <c:pt idx="46">
                  <c:v>30.307937340149969</c:v>
                </c:pt>
                <c:pt idx="47">
                  <c:v>30.809165402252578</c:v>
                </c:pt>
                <c:pt idx="48">
                  <c:v>31.374973210712959</c:v>
                </c:pt>
                <c:pt idx="49">
                  <c:v>31.999405684995384</c:v>
                </c:pt>
                <c:pt idx="50">
                  <c:v>32.676161702634488</c:v>
                </c:pt>
                <c:pt idx="51">
                  <c:v>33.399615729310639</c:v>
                </c:pt>
                <c:pt idx="52">
                  <c:v>34.164801029681804</c:v>
                </c:pt>
                <c:pt idx="53">
                  <c:v>34.96718849054183</c:v>
                </c:pt>
                <c:pt idx="54">
                  <c:v>35.802554119672443</c:v>
                </c:pt>
                <c:pt idx="55">
                  <c:v>36.666829410407829</c:v>
                </c:pt>
                <c:pt idx="56">
                  <c:v>37.555817657621084</c:v>
                </c:pt>
                <c:pt idx="57">
                  <c:v>38.465363372945291</c:v>
                </c:pt>
                <c:pt idx="58">
                  <c:v>39.39148961435211</c:v>
                </c:pt>
                <c:pt idx="59">
                  <c:v>40.33028696504357</c:v>
                </c:pt>
                <c:pt idx="60">
                  <c:v>41.277978468234828</c:v>
                </c:pt>
                <c:pt idx="61">
                  <c:v>42.230840657596445</c:v>
                </c:pt>
                <c:pt idx="62">
                  <c:v>43.185150228034935</c:v>
                </c:pt>
                <c:pt idx="63">
                  <c:v>44.137111963523722</c:v>
                </c:pt>
                <c:pt idx="64">
                  <c:v>45.082859448144099</c:v>
                </c:pt>
                <c:pt idx="65">
                  <c:v>46.018479146085845</c:v>
                </c:pt>
                <c:pt idx="66">
                  <c:v>46.939996123391587</c:v>
                </c:pt>
                <c:pt idx="67">
                  <c:v>47.843409195287698</c:v>
                </c:pt>
                <c:pt idx="68">
                  <c:v>48.724746616235741</c:v>
                </c:pt>
                <c:pt idx="69">
                  <c:v>49.580067392510379</c:v>
                </c:pt>
                <c:pt idx="70">
                  <c:v>50.405648877132769</c:v>
                </c:pt>
                <c:pt idx="71">
                  <c:v>51.197919494361187</c:v>
                </c:pt>
                <c:pt idx="72">
                  <c:v>51.953454968228222</c:v>
                </c:pt>
                <c:pt idx="73">
                  <c:v>52.668966783132305</c:v>
                </c:pt>
                <c:pt idx="74">
                  <c:v>53.341374466472466</c:v>
                </c:pt>
                <c:pt idx="75">
                  <c:v>53.967812374264675</c:v>
                </c:pt>
                <c:pt idx="76">
                  <c:v>54.545625396981414</c:v>
                </c:pt>
                <c:pt idx="77">
                  <c:v>55.072395785686325</c:v>
                </c:pt>
                <c:pt idx="78">
                  <c:v>55.545955079726973</c:v>
                </c:pt>
                <c:pt idx="79">
                  <c:v>55.96439566446378</c:v>
                </c:pt>
                <c:pt idx="80">
                  <c:v>56.326084463927778</c:v>
                </c:pt>
                <c:pt idx="81">
                  <c:v>56.62967305687954</c:v>
                </c:pt>
                <c:pt idx="82">
                  <c:v>56.874094984755949</c:v>
                </c:pt>
                <c:pt idx="83">
                  <c:v>57.058587916081478</c:v>
                </c:pt>
                <c:pt idx="84">
                  <c:v>57.18269509458063</c:v>
                </c:pt>
                <c:pt idx="85">
                  <c:v>57.246256280450375</c:v>
                </c:pt>
                <c:pt idx="86">
                  <c:v>57.249403116007642</c:v>
                </c:pt>
                <c:pt idx="87">
                  <c:v>57.192558375684108</c:v>
                </c:pt>
                <c:pt idx="88">
                  <c:v>57.076432120452331</c:v>
                </c:pt>
                <c:pt idx="89">
                  <c:v>56.90201483698057</c:v>
                </c:pt>
                <c:pt idx="90">
                  <c:v>56.670567364152433</c:v>
                </c:pt>
                <c:pt idx="91">
                  <c:v>56.383607896197063</c:v>
                </c:pt>
                <c:pt idx="92">
                  <c:v>56.042894602791613</c:v>
                </c:pt>
                <c:pt idx="93">
                  <c:v>55.6504077626317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5.451849730490878</c:v>
                </c:pt>
                <c:pt idx="32">
                  <c:v>34.211400300681248</c:v>
                </c:pt>
                <c:pt idx="33">
                  <c:v>32.993944887972532</c:v>
                </c:pt>
                <c:pt idx="34">
                  <c:v>31.86719210536662</c:v>
                </c:pt>
                <c:pt idx="35">
                  <c:v>30.876864014973734</c:v>
                </c:pt>
                <c:pt idx="36">
                  <c:v>30.080287303785603</c:v>
                </c:pt>
                <c:pt idx="37">
                  <c:v>29.453099882687685</c:v>
                </c:pt>
                <c:pt idx="38">
                  <c:v>29.000358411555148</c:v>
                </c:pt>
                <c:pt idx="39">
                  <c:v>28.723785473068467</c:v>
                </c:pt>
                <c:pt idx="40">
                  <c:v>28.623234560171714</c:v>
                </c:pt>
                <c:pt idx="41">
                  <c:v>28.696684808995382</c:v>
                </c:pt>
                <c:pt idx="42">
                  <c:v>28.940480897428849</c:v>
                </c:pt>
                <c:pt idx="43">
                  <c:v>29.349244870392816</c:v>
                </c:pt>
                <c:pt idx="44">
                  <c:v>29.9169982170542</c:v>
                </c:pt>
                <c:pt idx="45">
                  <c:v>30.636836587958975</c:v>
                </c:pt>
                <c:pt idx="46">
                  <c:v>31.501553377792678</c:v>
                </c:pt>
                <c:pt idx="47">
                  <c:v>32.504009501997899</c:v>
                </c:pt>
                <c:pt idx="48">
                  <c:v>33.635625118918661</c:v>
                </c:pt>
                <c:pt idx="49">
                  <c:v>34.884490067483505</c:v>
                </c:pt>
                <c:pt idx="50">
                  <c:v>36.238002102761719</c:v>
                </c:pt>
                <c:pt idx="51">
                  <c:v>37.684910156114022</c:v>
                </c:pt>
                <c:pt idx="52">
                  <c:v>39.215280756856338</c:v>
                </c:pt>
                <c:pt idx="53">
                  <c:v>40.820055678576402</c:v>
                </c:pt>
                <c:pt idx="54">
                  <c:v>42.490786936837615</c:v>
                </c:pt>
                <c:pt idx="55">
                  <c:v>44.219337518308372</c:v>
                </c:pt>
                <c:pt idx="56">
                  <c:v>45.997314012734904</c:v>
                </c:pt>
                <c:pt idx="57">
                  <c:v>47.816405443383331</c:v>
                </c:pt>
                <c:pt idx="58">
                  <c:v>49.668657926196957</c:v>
                </c:pt>
                <c:pt idx="59">
                  <c:v>51.546252627579868</c:v>
                </c:pt>
                <c:pt idx="60">
                  <c:v>53.441635633962406</c:v>
                </c:pt>
                <c:pt idx="61">
                  <c:v>55.347360012685627</c:v>
                </c:pt>
                <c:pt idx="62">
                  <c:v>57.25597915356262</c:v>
                </c:pt>
                <c:pt idx="63">
                  <c:v>59.159902624540187</c:v>
                </c:pt>
                <c:pt idx="64">
                  <c:v>61.051397593780919</c:v>
                </c:pt>
                <c:pt idx="65">
                  <c:v>62.922636989664412</c:v>
                </c:pt>
                <c:pt idx="66">
                  <c:v>64.765670944275897</c:v>
                </c:pt>
                <c:pt idx="67">
                  <c:v>66.572497088068133</c:v>
                </c:pt>
                <c:pt idx="68">
                  <c:v>68.335171929964204</c:v>
                </c:pt>
                <c:pt idx="69">
                  <c:v>70.045813482513495</c:v>
                </c:pt>
                <c:pt idx="70">
                  <c:v>71.696976451758246</c:v>
                </c:pt>
                <c:pt idx="71">
                  <c:v>73.281517686215111</c:v>
                </c:pt>
                <c:pt idx="72">
                  <c:v>74.792588633949194</c:v>
                </c:pt>
                <c:pt idx="73">
                  <c:v>76.223612263757346</c:v>
                </c:pt>
                <c:pt idx="74">
                  <c:v>77.568427630437697</c:v>
                </c:pt>
                <c:pt idx="75">
                  <c:v>78.821303446022071</c:v>
                </c:pt>
                <c:pt idx="76">
                  <c:v>79.976929491455593</c:v>
                </c:pt>
                <c:pt idx="77">
                  <c:v>81.030470268865358</c:v>
                </c:pt>
                <c:pt idx="78">
                  <c:v>81.977588856946667</c:v>
                </c:pt>
                <c:pt idx="79">
                  <c:v>82.814470026420267</c:v>
                </c:pt>
                <c:pt idx="80">
                  <c:v>83.537847625348292</c:v>
                </c:pt>
                <c:pt idx="81">
                  <c:v>84.145024811251815</c:v>
                </c:pt>
                <c:pt idx="82">
                  <c:v>84.633868667004663</c:v>
                </c:pt>
                <c:pt idx="83">
                  <c:v>85.002854529655693</c:v>
                </c:pt>
                <c:pt idx="84">
                  <c:v>85.251068886653968</c:v>
                </c:pt>
                <c:pt idx="85">
                  <c:v>85.378191258393485</c:v>
                </c:pt>
                <c:pt idx="86">
                  <c:v>85.384484929508005</c:v>
                </c:pt>
                <c:pt idx="87">
                  <c:v>85.270795448860937</c:v>
                </c:pt>
                <c:pt idx="88">
                  <c:v>85.038542938397384</c:v>
                </c:pt>
                <c:pt idx="89">
                  <c:v>84.689708371453861</c:v>
                </c:pt>
                <c:pt idx="90">
                  <c:v>84.226813425797616</c:v>
                </c:pt>
                <c:pt idx="91">
                  <c:v>83.652894489886847</c:v>
                </c:pt>
                <c:pt idx="92">
                  <c:v>82.971467903075933</c:v>
                </c:pt>
                <c:pt idx="93">
                  <c:v>82.1864942227561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111</c:v>
                </c:pt>
                <c:pt idx="1">
                  <c:v>120</c:v>
                </c:pt>
                <c:pt idx="2">
                  <c:v>115</c:v>
                </c:pt>
                <c:pt idx="3">
                  <c:v>116</c:v>
                </c:pt>
                <c:pt idx="4">
                  <c:v>125</c:v>
                </c:pt>
                <c:pt idx="5">
                  <c:v>124</c:v>
                </c:pt>
                <c:pt idx="6">
                  <c:v>132</c:v>
                </c:pt>
                <c:pt idx="7">
                  <c:v>128</c:v>
                </c:pt>
                <c:pt idx="8">
                  <c:v>130</c:v>
                </c:pt>
                <c:pt idx="9">
                  <c:v>126</c:v>
                </c:pt>
                <c:pt idx="10">
                  <c:v>120</c:v>
                </c:pt>
                <c:pt idx="11">
                  <c:v>123</c:v>
                </c:pt>
                <c:pt idx="12">
                  <c:v>115</c:v>
                </c:pt>
                <c:pt idx="13">
                  <c:v>120</c:v>
                </c:pt>
                <c:pt idx="14">
                  <c:v>115</c:v>
                </c:pt>
                <c:pt idx="15">
                  <c:v>108</c:v>
                </c:pt>
                <c:pt idx="16">
                  <c:v>104</c:v>
                </c:pt>
                <c:pt idx="17">
                  <c:v>95</c:v>
                </c:pt>
                <c:pt idx="18">
                  <c:v>98</c:v>
                </c:pt>
                <c:pt idx="19">
                  <c:v>106</c:v>
                </c:pt>
                <c:pt idx="20">
                  <c:v>107</c:v>
                </c:pt>
                <c:pt idx="21">
                  <c:v>99</c:v>
                </c:pt>
                <c:pt idx="22">
                  <c:v>95</c:v>
                </c:pt>
                <c:pt idx="23">
                  <c:v>87</c:v>
                </c:pt>
                <c:pt idx="24">
                  <c:v>84</c:v>
                </c:pt>
                <c:pt idx="25">
                  <c:v>83</c:v>
                </c:pt>
                <c:pt idx="26">
                  <c:v>87</c:v>
                </c:pt>
                <c:pt idx="27">
                  <c:v>84</c:v>
                </c:pt>
                <c:pt idx="28">
                  <c:v>82</c:v>
                </c:pt>
                <c:pt idx="29">
                  <c:v>81</c:v>
                </c:pt>
                <c:pt idx="30">
                  <c:v>78</c:v>
                </c:pt>
                <c:pt idx="31">
                  <c:v>74</c:v>
                </c:pt>
                <c:pt idx="32">
                  <c:v>80</c:v>
                </c:pt>
                <c:pt idx="33">
                  <c:v>85</c:v>
                </c:pt>
                <c:pt idx="34">
                  <c:v>78</c:v>
                </c:pt>
                <c:pt idx="35">
                  <c:v>75</c:v>
                </c:pt>
                <c:pt idx="36">
                  <c:v>73</c:v>
                </c:pt>
                <c:pt idx="37">
                  <c:v>65</c:v>
                </c:pt>
                <c:pt idx="38">
                  <c:v>61</c:v>
                </c:pt>
                <c:pt idx="39">
                  <c:v>58</c:v>
                </c:pt>
                <c:pt idx="40">
                  <c:v>61</c:v>
                </c:pt>
                <c:pt idx="41">
                  <c:v>54</c:v>
                </c:pt>
                <c:pt idx="42">
                  <c:v>44</c:v>
                </c:pt>
                <c:pt idx="43">
                  <c:v>40</c:v>
                </c:pt>
                <c:pt idx="44">
                  <c:v>33</c:v>
                </c:pt>
                <c:pt idx="45">
                  <c:v>30</c:v>
                </c:pt>
                <c:pt idx="46">
                  <c:v>30</c:v>
                </c:pt>
                <c:pt idx="47">
                  <c:v>35</c:v>
                </c:pt>
                <c:pt idx="48">
                  <c:v>30</c:v>
                </c:pt>
                <c:pt idx="49">
                  <c:v>29</c:v>
                </c:pt>
                <c:pt idx="50">
                  <c:v>25</c:v>
                </c:pt>
                <c:pt idx="51">
                  <c:v>20</c:v>
                </c:pt>
                <c:pt idx="52">
                  <c:v>21</c:v>
                </c:pt>
                <c:pt idx="53">
                  <c:v>23</c:v>
                </c:pt>
                <c:pt idx="54">
                  <c:v>20</c:v>
                </c:pt>
                <c:pt idx="55">
                  <c:v>20</c:v>
                </c:pt>
                <c:pt idx="56">
                  <c:v>20</c:v>
                </c:pt>
                <c:pt idx="57">
                  <c:v>24</c:v>
                </c:pt>
                <c:pt idx="58">
                  <c:v>27</c:v>
                </c:pt>
                <c:pt idx="59">
                  <c:v>28</c:v>
                </c:pt>
                <c:pt idx="60">
                  <c:v>27</c:v>
                </c:pt>
                <c:pt idx="61">
                  <c:v>30</c:v>
                </c:pt>
                <c:pt idx="62">
                  <c:v>25</c:v>
                </c:pt>
                <c:pt idx="63">
                  <c:v>24</c:v>
                </c:pt>
                <c:pt idx="64">
                  <c:v>22</c:v>
                </c:pt>
                <c:pt idx="65">
                  <c:v>27</c:v>
                </c:pt>
                <c:pt idx="66">
                  <c:v>27</c:v>
                </c:pt>
                <c:pt idx="67">
                  <c:v>24</c:v>
                </c:pt>
                <c:pt idx="68">
                  <c:v>28</c:v>
                </c:pt>
                <c:pt idx="69">
                  <c:v>28</c:v>
                </c:pt>
                <c:pt idx="70">
                  <c:v>34</c:v>
                </c:pt>
                <c:pt idx="71">
                  <c:v>34</c:v>
                </c:pt>
                <c:pt idx="72">
                  <c:v>35</c:v>
                </c:pt>
                <c:pt idx="73">
                  <c:v>39</c:v>
                </c:pt>
                <c:pt idx="74">
                  <c:v>41</c:v>
                </c:pt>
                <c:pt idx="75">
                  <c:v>43</c:v>
                </c:pt>
                <c:pt idx="76">
                  <c:v>43</c:v>
                </c:pt>
                <c:pt idx="77">
                  <c:v>42</c:v>
                </c:pt>
                <c:pt idx="78">
                  <c:v>48</c:v>
                </c:pt>
                <c:pt idx="79">
                  <c:v>47</c:v>
                </c:pt>
                <c:pt idx="80">
                  <c:v>45</c:v>
                </c:pt>
                <c:pt idx="81">
                  <c:v>48</c:v>
                </c:pt>
                <c:pt idx="82">
                  <c:v>52</c:v>
                </c:pt>
                <c:pt idx="83">
                  <c:v>53</c:v>
                </c:pt>
                <c:pt idx="84">
                  <c:v>51</c:v>
                </c:pt>
                <c:pt idx="85">
                  <c:v>48</c:v>
                </c:pt>
                <c:pt idx="86">
                  <c:v>40</c:v>
                </c:pt>
                <c:pt idx="87">
                  <c:v>40</c:v>
                </c:pt>
                <c:pt idx="88">
                  <c:v>41</c:v>
                </c:pt>
                <c:pt idx="89">
                  <c:v>42</c:v>
                </c:pt>
                <c:pt idx="90">
                  <c:v>38</c:v>
                </c:pt>
                <c:pt idx="91">
                  <c:v>38</c:v>
                </c:pt>
                <c:pt idx="92">
                  <c:v>39</c:v>
                </c:pt>
                <c:pt idx="93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0.194662466371938</c:v>
                </c:pt>
                <c:pt idx="32">
                  <c:v>67.738572595348884</c:v>
                </c:pt>
                <c:pt idx="33">
                  <c:v>65.328010878185623</c:v>
                </c:pt>
                <c:pt idx="34">
                  <c:v>62.96501298006239</c:v>
                </c:pt>
                <c:pt idx="35">
                  <c:v>60.651312738478929</c:v>
                </c:pt>
                <c:pt idx="36">
                  <c:v>58.454213489110423</c:v>
                </c:pt>
                <c:pt idx="37">
                  <c:v>56.304289502569873</c:v>
                </c:pt>
                <c:pt idx="38">
                  <c:v>54.202732415778407</c:v>
                </c:pt>
                <c:pt idx="39">
                  <c:v>52.150531809436529</c:v>
                </c:pt>
                <c:pt idx="40">
                  <c:v>50.148544711261614</c:v>
                </c:pt>
                <c:pt idx="41">
                  <c:v>48.23614166791905</c:v>
                </c:pt>
                <c:pt idx="42">
                  <c:v>46.439961760641147</c:v>
                </c:pt>
                <c:pt idx="43">
                  <c:v>44.772616899067408</c:v>
                </c:pt>
                <c:pt idx="44">
                  <c:v>43.238158692106317</c:v>
                </c:pt>
                <c:pt idx="45">
                  <c:v>41.835897893301762</c:v>
                </c:pt>
                <c:pt idx="46">
                  <c:v>40.562549671476326</c:v>
                </c:pt>
                <c:pt idx="47">
                  <c:v>39.413362736969368</c:v>
                </c:pt>
                <c:pt idx="48">
                  <c:v>38.3823269910378</c:v>
                </c:pt>
                <c:pt idx="49">
                  <c:v>37.4624460849409</c:v>
                </c:pt>
                <c:pt idx="50">
                  <c:v>36.645780036961938</c:v>
                </c:pt>
                <c:pt idx="51">
                  <c:v>35.924195292510333</c:v>
                </c:pt>
                <c:pt idx="52">
                  <c:v>35.289267407059285</c:v>
                </c:pt>
                <c:pt idx="53">
                  <c:v>34.732702352814165</c:v>
                </c:pt>
                <c:pt idx="54">
                  <c:v>34.246601785374303</c:v>
                </c:pt>
                <c:pt idx="55">
                  <c:v>33.82262620000494</c:v>
                </c:pt>
                <c:pt idx="56">
                  <c:v>33.450939600709702</c:v>
                </c:pt>
                <c:pt idx="57">
                  <c:v>33.121771102523667</c:v>
                </c:pt>
                <c:pt idx="58">
                  <c:v>32.826662534416037</c:v>
                </c:pt>
                <c:pt idx="59">
                  <c:v>32.558497347880859</c:v>
                </c:pt>
                <c:pt idx="60">
                  <c:v>32.311245993818346</c:v>
                </c:pt>
                <c:pt idx="61">
                  <c:v>32.079788441722798</c:v>
                </c:pt>
                <c:pt idx="62">
                  <c:v>31.85971079954567</c:v>
                </c:pt>
                <c:pt idx="63">
                  <c:v>31.646946604647407</c:v>
                </c:pt>
                <c:pt idx="64">
                  <c:v>31.437949152092401</c:v>
                </c:pt>
                <c:pt idx="65">
                  <c:v>31.229830423981422</c:v>
                </c:pt>
                <c:pt idx="66">
                  <c:v>31.020215123183085</c:v>
                </c:pt>
                <c:pt idx="67">
                  <c:v>30.807284749345392</c:v>
                </c:pt>
                <c:pt idx="68">
                  <c:v>30.589654837831258</c:v>
                </c:pt>
                <c:pt idx="69">
                  <c:v>30.366279433862932</c:v>
                </c:pt>
                <c:pt idx="70">
                  <c:v>30.136444250108116</c:v>
                </c:pt>
                <c:pt idx="71">
                  <c:v>29.899700565985107</c:v>
                </c:pt>
                <c:pt idx="72">
                  <c:v>29.65581523193503</c:v>
                </c:pt>
                <c:pt idx="73">
                  <c:v>29.404698516433569</c:v>
                </c:pt>
                <c:pt idx="74">
                  <c:v>29.146395731629816</c:v>
                </c:pt>
                <c:pt idx="75">
                  <c:v>28.881104914970599</c:v>
                </c:pt>
                <c:pt idx="76">
                  <c:v>28.609132927475706</c:v>
                </c:pt>
                <c:pt idx="77">
                  <c:v>28.330842957108228</c:v>
                </c:pt>
                <c:pt idx="78">
                  <c:v>28.046590081291303</c:v>
                </c:pt>
                <c:pt idx="79">
                  <c:v>27.756735098918764</c:v>
                </c:pt>
                <c:pt idx="80">
                  <c:v>27.461626934878343</c:v>
                </c:pt>
                <c:pt idx="81">
                  <c:v>27.16166446024604</c:v>
                </c:pt>
                <c:pt idx="82">
                  <c:v>26.857278435496703</c:v>
                </c:pt>
                <c:pt idx="83">
                  <c:v>26.548897207862488</c:v>
                </c:pt>
                <c:pt idx="84">
                  <c:v>26.236950789938582</c:v>
                </c:pt>
                <c:pt idx="85">
                  <c:v>25.92185731268458</c:v>
                </c:pt>
                <c:pt idx="86">
                  <c:v>25.604017161423542</c:v>
                </c:pt>
                <c:pt idx="87">
                  <c:v>25.283812547160949</c:v>
                </c:pt>
                <c:pt idx="88">
                  <c:v>24.961607416615319</c:v>
                </c:pt>
                <c:pt idx="89">
                  <c:v>24.637732751210407</c:v>
                </c:pt>
                <c:pt idx="90">
                  <c:v>24.312504401973964</c:v>
                </c:pt>
                <c:pt idx="91">
                  <c:v>23.986224553614246</c:v>
                </c:pt>
                <c:pt idx="92">
                  <c:v>23.659179297733072</c:v>
                </c:pt>
                <c:pt idx="93">
                  <c:v>23.331637489463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0.194662466371938</c:v>
                </c:pt>
                <c:pt idx="32">
                  <c:v>67.738572595348884</c:v>
                </c:pt>
                <c:pt idx="33">
                  <c:v>65.328010878185623</c:v>
                </c:pt>
                <c:pt idx="34">
                  <c:v>63.097040368625912</c:v>
                </c:pt>
                <c:pt idx="35">
                  <c:v>61.136190749648001</c:v>
                </c:pt>
                <c:pt idx="36">
                  <c:v>59.558968861495501</c:v>
                </c:pt>
                <c:pt idx="37">
                  <c:v>57.981746973343</c:v>
                </c:pt>
                <c:pt idx="38">
                  <c:v>57.533532916921793</c:v>
                </c:pt>
                <c:pt idx="39">
                  <c:v>57.259725707819982</c:v>
                </c:pt>
                <c:pt idx="40">
                  <c:v>57.16018030405219</c:v>
                </c:pt>
                <c:pt idx="41">
                  <c:v>57.232896050387616</c:v>
                </c:pt>
                <c:pt idx="42">
                  <c:v>57.474254177936743</c:v>
                </c:pt>
                <c:pt idx="43">
                  <c:v>57.878930511171077</c:v>
                </c:pt>
                <c:pt idx="44">
                  <c:v>58.441006324365851</c:v>
                </c:pt>
                <c:pt idx="45">
                  <c:v>59.153646311561587</c:v>
                </c:pt>
                <c:pt idx="46">
                  <c:v>60.009715933496942</c:v>
                </c:pt>
                <c:pt idx="47">
                  <c:v>61.002147496460111</c:v>
                </c:pt>
                <c:pt idx="48">
                  <c:v>62.122446957211665</c:v>
                </c:pt>
                <c:pt idx="49">
                  <c:v>63.358823256290869</c:v>
                </c:pt>
                <c:pt idx="50">
                  <c:v>64.698800171216291</c:v>
                </c:pt>
                <c:pt idx="51">
                  <c:v>66.131239144035064</c:v>
                </c:pt>
                <c:pt idx="52">
                  <c:v>67.646306038769978</c:v>
                </c:pt>
                <c:pt idx="53">
                  <c:v>69.235033211272835</c:v>
                </c:pt>
                <c:pt idx="54">
                  <c:v>70.889057156951452</c:v>
                </c:pt>
                <c:pt idx="55">
                  <c:v>72.600322232607496</c:v>
                </c:pt>
                <c:pt idx="56">
                  <c:v>74.360518962089756</c:v>
                </c:pt>
                <c:pt idx="57">
                  <c:v>76.161419478431682</c:v>
                </c:pt>
                <c:pt idx="58">
                  <c:v>77.995149436417179</c:v>
                </c:pt>
                <c:pt idx="59">
                  <c:v>79.853968190786276</c:v>
                </c:pt>
                <c:pt idx="60">
                  <c:v>81.73039736710497</c:v>
                </c:pt>
                <c:pt idx="61">
                  <c:v>83.617064502040961</c:v>
                </c:pt>
                <c:pt idx="62">
                  <c:v>85.50659745150918</c:v>
                </c:pt>
                <c:pt idx="63">
                  <c:v>87.391481687776974</c:v>
                </c:pt>
                <c:pt idx="64">
                  <c:v>89.264061707325325</c:v>
                </c:pt>
                <c:pt idx="65">
                  <c:v>91.116588709249982</c:v>
                </c:pt>
                <c:pt idx="66">
                  <c:v>92.941192324315352</c:v>
                </c:pt>
                <c:pt idx="67">
                  <c:v>94.729950206669656</c:v>
                </c:pt>
                <c:pt idx="68">
                  <c:v>96.47499830014678</c:v>
                </c:pt>
                <c:pt idx="69">
                  <c:v>98.168533437170552</c:v>
                </c:pt>
                <c:pt idx="70">
                  <c:v>99.803184776722887</c:v>
                </c:pt>
                <c:pt idx="71">
                  <c:v>101.37188059883516</c:v>
                </c:pt>
                <c:pt idx="72">
                  <c:v>102.86784083709189</c:v>
                </c:pt>
                <c:pt idx="73">
                  <c:v>104.28455423060197</c:v>
                </c:pt>
                <c:pt idx="74">
                  <c:v>105.61592144361551</c:v>
                </c:pt>
                <c:pt idx="75">
                  <c:v>106.85626850104406</c:v>
                </c:pt>
                <c:pt idx="76">
                  <c:v>108.00033828602322</c:v>
                </c:pt>
                <c:pt idx="77">
                  <c:v>109.04334365565894</c:v>
                </c:pt>
                <c:pt idx="78">
                  <c:v>109.98099105785941</c:v>
                </c:pt>
                <c:pt idx="79">
                  <c:v>110.80950341563829</c:v>
                </c:pt>
                <c:pt idx="80">
                  <c:v>111.52564723857701</c:v>
                </c:pt>
                <c:pt idx="81">
                  <c:v>112.12675265262149</c:v>
                </c:pt>
                <c:pt idx="82">
                  <c:v>112.61070806981679</c:v>
                </c:pt>
                <c:pt idx="83">
                  <c:v>112.97600407384134</c:v>
                </c:pt>
                <c:pt idx="84">
                  <c:v>113.22173628726965</c:v>
                </c:pt>
                <c:pt idx="85">
                  <c:v>113.34758743529176</c:v>
                </c:pt>
                <c:pt idx="86">
                  <c:v>113.35381816969515</c:v>
                </c:pt>
                <c:pt idx="87">
                  <c:v>113.24126558385454</c:v>
                </c:pt>
                <c:pt idx="88">
                  <c:v>113.01133559849562</c:v>
                </c:pt>
                <c:pt idx="89">
                  <c:v>112.66598937722154</c:v>
                </c:pt>
                <c:pt idx="90">
                  <c:v>112.20772338102182</c:v>
                </c:pt>
                <c:pt idx="91">
                  <c:v>111.6395436344702</c:v>
                </c:pt>
                <c:pt idx="92">
                  <c:v>110.9649313135274</c:v>
                </c:pt>
                <c:pt idx="93">
                  <c:v>110.1878073700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0.194662466371938</c:v>
                </c:pt>
                <c:pt idx="32">
                  <c:v>67.738572595348884</c:v>
                </c:pt>
                <c:pt idx="33">
                  <c:v>65.328010878185623</c:v>
                </c:pt>
                <c:pt idx="34">
                  <c:v>63.097040368625912</c:v>
                </c:pt>
                <c:pt idx="35">
                  <c:v>61.136190749648001</c:v>
                </c:pt>
                <c:pt idx="36">
                  <c:v>59.558968861495501</c:v>
                </c:pt>
                <c:pt idx="37">
                  <c:v>58.317137767721626</c:v>
                </c:pt>
                <c:pt idx="38">
                  <c:v>57.420709654879197</c:v>
                </c:pt>
                <c:pt idx="39">
                  <c:v>56.873095236675567</c:v>
                </c:pt>
                <c:pt idx="40">
                  <c:v>56.674004429139998</c:v>
                </c:pt>
                <c:pt idx="41">
                  <c:v>56.819435921810864</c:v>
                </c:pt>
                <c:pt idx="42">
                  <c:v>57.302152176909125</c:v>
                </c:pt>
                <c:pt idx="43">
                  <c:v>58.11150484337778</c:v>
                </c:pt>
                <c:pt idx="44">
                  <c:v>59.235656469767321</c:v>
                </c:pt>
                <c:pt idx="45">
                  <c:v>60.660936444158772</c:v>
                </c:pt>
                <c:pt idx="46">
                  <c:v>62.373075688029509</c:v>
                </c:pt>
                <c:pt idx="47">
                  <c:v>64.35793881395584</c:v>
                </c:pt>
                <c:pt idx="48">
                  <c:v>66.598537735458962</c:v>
                </c:pt>
                <c:pt idx="49">
                  <c:v>69.071290333617341</c:v>
                </c:pt>
                <c:pt idx="50">
                  <c:v>71.751244163468215</c:v>
                </c:pt>
                <c:pt idx="51">
                  <c:v>74.616122109105774</c:v>
                </c:pt>
                <c:pt idx="52">
                  <c:v>77.646255898575546</c:v>
                </c:pt>
                <c:pt idx="53">
                  <c:v>80.823710243581289</c:v>
                </c:pt>
                <c:pt idx="54">
                  <c:v>84.13175813493848</c:v>
                </c:pt>
                <c:pt idx="55">
                  <c:v>87.554288286250582</c:v>
                </c:pt>
                <c:pt idx="56">
                  <c:v>91.074681745215116</c:v>
                </c:pt>
                <c:pt idx="57">
                  <c:v>94.676482777898997</c:v>
                </c:pt>
                <c:pt idx="58">
                  <c:v>98.343942693869977</c:v>
                </c:pt>
                <c:pt idx="59">
                  <c:v>102.06158020260816</c:v>
                </c:pt>
                <c:pt idx="60">
                  <c:v>105.81443855524557</c:v>
                </c:pt>
                <c:pt idx="61">
                  <c:v>109.58777282511755</c:v>
                </c:pt>
                <c:pt idx="62">
                  <c:v>113.36683872405401</c:v>
                </c:pt>
                <c:pt idx="63">
                  <c:v>117.13660719658958</c:v>
                </c:pt>
                <c:pt idx="64">
                  <c:v>120.88176723568623</c:v>
                </c:pt>
                <c:pt idx="65">
                  <c:v>124.58682123953554</c:v>
                </c:pt>
                <c:pt idx="66">
                  <c:v>128.23602846966628</c:v>
                </c:pt>
                <c:pt idx="67">
                  <c:v>131.81354423437492</c:v>
                </c:pt>
                <c:pt idx="68">
                  <c:v>135.30364042132913</c:v>
                </c:pt>
                <c:pt idx="69">
                  <c:v>138.69071069537674</c:v>
                </c:pt>
                <c:pt idx="70">
                  <c:v>141.96001337448135</c:v>
                </c:pt>
                <c:pt idx="71">
                  <c:v>145.09740501870596</c:v>
                </c:pt>
                <c:pt idx="72">
                  <c:v>148.08932549521941</c:v>
                </c:pt>
                <c:pt idx="73">
                  <c:v>150.92275228223957</c:v>
                </c:pt>
                <c:pt idx="74">
                  <c:v>153.58548670826664</c:v>
                </c:pt>
                <c:pt idx="75">
                  <c:v>156.06618082312372</c:v>
                </c:pt>
                <c:pt idx="76">
                  <c:v>158.35432039308208</c:v>
                </c:pt>
                <c:pt idx="77">
                  <c:v>160.44033113235344</c:v>
                </c:pt>
                <c:pt idx="78">
                  <c:v>162.31562593675443</c:v>
                </c:pt>
                <c:pt idx="79">
                  <c:v>163.97265065231213</c:v>
                </c:pt>
                <c:pt idx="80">
                  <c:v>165.40493829818965</c:v>
                </c:pt>
                <c:pt idx="81">
                  <c:v>166.60714912627861</c:v>
                </c:pt>
                <c:pt idx="82">
                  <c:v>167.57505996066925</c:v>
                </c:pt>
                <c:pt idx="83">
                  <c:v>168.30565196871831</c:v>
                </c:pt>
                <c:pt idx="84">
                  <c:v>168.79711639557485</c:v>
                </c:pt>
                <c:pt idx="85">
                  <c:v>169.04881869161912</c:v>
                </c:pt>
                <c:pt idx="86">
                  <c:v>169.06128016042587</c:v>
                </c:pt>
                <c:pt idx="87">
                  <c:v>168.83617498874466</c:v>
                </c:pt>
                <c:pt idx="88">
                  <c:v>168.37631501802682</c:v>
                </c:pt>
                <c:pt idx="89">
                  <c:v>167.68562257547867</c:v>
                </c:pt>
                <c:pt idx="90">
                  <c:v>166.7690905830793</c:v>
                </c:pt>
                <c:pt idx="91">
                  <c:v>165.63273108997598</c:v>
                </c:pt>
                <c:pt idx="92">
                  <c:v>164.28350644809038</c:v>
                </c:pt>
                <c:pt idx="93">
                  <c:v>162.729258561057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120</c:v>
                </c:pt>
                <c:pt idx="1">
                  <c:v>220</c:v>
                </c:pt>
                <c:pt idx="2">
                  <c:v>333</c:v>
                </c:pt>
                <c:pt idx="3">
                  <c:v>414</c:v>
                </c:pt>
                <c:pt idx="4">
                  <c:v>501</c:v>
                </c:pt>
                <c:pt idx="5">
                  <c:v>607</c:v>
                </c:pt>
                <c:pt idx="6">
                  <c:v>728</c:v>
                </c:pt>
                <c:pt idx="7">
                  <c:v>848</c:v>
                </c:pt>
                <c:pt idx="8">
                  <c:v>952</c:v>
                </c:pt>
                <c:pt idx="9">
                  <c:v>1059</c:v>
                </c:pt>
                <c:pt idx="10">
                  <c:v>1149</c:v>
                </c:pt>
                <c:pt idx="11">
                  <c:v>1223</c:v>
                </c:pt>
                <c:pt idx="12">
                  <c:v>1318</c:v>
                </c:pt>
                <c:pt idx="13">
                  <c:v>1408</c:v>
                </c:pt>
                <c:pt idx="14">
                  <c:v>1487</c:v>
                </c:pt>
                <c:pt idx="15">
                  <c:v>1563</c:v>
                </c:pt>
                <c:pt idx="16">
                  <c:v>1658</c:v>
                </c:pt>
                <c:pt idx="17">
                  <c:v>1713</c:v>
                </c:pt>
                <c:pt idx="18">
                  <c:v>1774</c:v>
                </c:pt>
                <c:pt idx="19">
                  <c:v>1870</c:v>
                </c:pt>
                <c:pt idx="20">
                  <c:v>1949</c:v>
                </c:pt>
                <c:pt idx="21">
                  <c:v>2020</c:v>
                </c:pt>
                <c:pt idx="22">
                  <c:v>2087</c:v>
                </c:pt>
                <c:pt idx="23">
                  <c:v>2129</c:v>
                </c:pt>
                <c:pt idx="24">
                  <c:v>2172</c:v>
                </c:pt>
                <c:pt idx="25">
                  <c:v>2234</c:v>
                </c:pt>
                <c:pt idx="26">
                  <c:v>2312</c:v>
                </c:pt>
                <c:pt idx="27">
                  <c:v>2378</c:v>
                </c:pt>
                <c:pt idx="28">
                  <c:v>2447</c:v>
                </c:pt>
                <c:pt idx="29">
                  <c:v>2497</c:v>
                </c:pt>
                <c:pt idx="30">
                  <c:v>2550</c:v>
                </c:pt>
                <c:pt idx="31">
                  <c:v>2599</c:v>
                </c:pt>
                <c:pt idx="32">
                  <c:v>2636</c:v>
                </c:pt>
                <c:pt idx="33">
                  <c:v>2684</c:v>
                </c:pt>
                <c:pt idx="34">
                  <c:v>2737</c:v>
                </c:pt>
                <c:pt idx="35">
                  <c:v>2782</c:v>
                </c:pt>
                <c:pt idx="36">
                  <c:v>2834</c:v>
                </c:pt>
                <c:pt idx="37">
                  <c:v>2875</c:v>
                </c:pt>
                <c:pt idx="38">
                  <c:v>2921</c:v>
                </c:pt>
                <c:pt idx="39">
                  <c:v>2944</c:v>
                </c:pt>
                <c:pt idx="40">
                  <c:v>2982</c:v>
                </c:pt>
                <c:pt idx="41">
                  <c:v>3031</c:v>
                </c:pt>
                <c:pt idx="42">
                  <c:v>3065</c:v>
                </c:pt>
                <c:pt idx="43">
                  <c:v>3092</c:v>
                </c:pt>
                <c:pt idx="44">
                  <c:v>3113</c:v>
                </c:pt>
                <c:pt idx="45">
                  <c:v>3134</c:v>
                </c:pt>
                <c:pt idx="46">
                  <c:v>3146</c:v>
                </c:pt>
                <c:pt idx="47">
                  <c:v>3181</c:v>
                </c:pt>
                <c:pt idx="48">
                  <c:v>3206</c:v>
                </c:pt>
                <c:pt idx="49">
                  <c:v>3241</c:v>
                </c:pt>
                <c:pt idx="50">
                  <c:v>3267</c:v>
                </c:pt>
                <c:pt idx="51">
                  <c:v>3296</c:v>
                </c:pt>
                <c:pt idx="52">
                  <c:v>3328</c:v>
                </c:pt>
                <c:pt idx="53">
                  <c:v>3360</c:v>
                </c:pt>
                <c:pt idx="54">
                  <c:v>3391</c:v>
                </c:pt>
                <c:pt idx="55">
                  <c:v>3423</c:v>
                </c:pt>
                <c:pt idx="56">
                  <c:v>3450</c:v>
                </c:pt>
                <c:pt idx="57">
                  <c:v>3499</c:v>
                </c:pt>
                <c:pt idx="58">
                  <c:v>3554</c:v>
                </c:pt>
                <c:pt idx="59">
                  <c:v>3588</c:v>
                </c:pt>
                <c:pt idx="60">
                  <c:v>3640</c:v>
                </c:pt>
                <c:pt idx="61">
                  <c:v>3690</c:v>
                </c:pt>
                <c:pt idx="62">
                  <c:v>3740</c:v>
                </c:pt>
                <c:pt idx="63">
                  <c:v>3794</c:v>
                </c:pt>
                <c:pt idx="64">
                  <c:v>3835</c:v>
                </c:pt>
                <c:pt idx="65">
                  <c:v>3884</c:v>
                </c:pt>
                <c:pt idx="66">
                  <c:v>3939</c:v>
                </c:pt>
                <c:pt idx="67">
                  <c:v>3985</c:v>
                </c:pt>
                <c:pt idx="68">
                  <c:v>4037</c:v>
                </c:pt>
                <c:pt idx="69">
                  <c:v>4090</c:v>
                </c:pt>
                <c:pt idx="70">
                  <c:v>4164</c:v>
                </c:pt>
                <c:pt idx="71">
                  <c:v>4223</c:v>
                </c:pt>
                <c:pt idx="72">
                  <c:v>4291</c:v>
                </c:pt>
                <c:pt idx="73">
                  <c:v>4326</c:v>
                </c:pt>
                <c:pt idx="74">
                  <c:v>4364</c:v>
                </c:pt>
                <c:pt idx="75">
                  <c:v>4417</c:v>
                </c:pt>
                <c:pt idx="76">
                  <c:v>4480</c:v>
                </c:pt>
                <c:pt idx="77">
                  <c:v>4537</c:v>
                </c:pt>
                <c:pt idx="78">
                  <c:v>4591</c:v>
                </c:pt>
                <c:pt idx="79">
                  <c:v>4638</c:v>
                </c:pt>
                <c:pt idx="80">
                  <c:v>4686</c:v>
                </c:pt>
                <c:pt idx="81">
                  <c:v>4720</c:v>
                </c:pt>
                <c:pt idx="82">
                  <c:v>4776</c:v>
                </c:pt>
                <c:pt idx="83">
                  <c:v>4820</c:v>
                </c:pt>
                <c:pt idx="84">
                  <c:v>4879</c:v>
                </c:pt>
                <c:pt idx="85">
                  <c:v>4924</c:v>
                </c:pt>
                <c:pt idx="86">
                  <c:v>4961</c:v>
                </c:pt>
                <c:pt idx="87">
                  <c:v>4993</c:v>
                </c:pt>
                <c:pt idx="88">
                  <c:v>5026</c:v>
                </c:pt>
                <c:pt idx="89">
                  <c:v>5061</c:v>
                </c:pt>
                <c:pt idx="90">
                  <c:v>5099</c:v>
                </c:pt>
                <c:pt idx="91">
                  <c:v>5124</c:v>
                </c:pt>
                <c:pt idx="92">
                  <c:v>5152</c:v>
                </c:pt>
                <c:pt idx="93">
                  <c:v>51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590.8494398496609</c:v>
                </c:pt>
                <c:pt idx="32">
                  <c:v>2639.6937438748168</c:v>
                </c:pt>
                <c:pt idx="33">
                  <c:v>2686.5886419173207</c:v>
                </c:pt>
                <c:pt idx="34">
                  <c:v>2731.5900490555791</c:v>
                </c:pt>
                <c:pt idx="35">
                  <c:v>2774.7538793213535</c:v>
                </c:pt>
                <c:pt idx="36">
                  <c:v>2816.1825547066037</c:v>
                </c:pt>
                <c:pt idx="37">
                  <c:v>2855.9277807046756</c:v>
                </c:pt>
                <c:pt idx="38">
                  <c:v>2894.0410499245072</c:v>
                </c:pt>
                <c:pt idx="39">
                  <c:v>2930.5735207662128</c:v>
                </c:pt>
                <c:pt idx="40">
                  <c:v>2965.5759087748447</c:v>
                </c:pt>
                <c:pt idx="41">
                  <c:v>2999.4832986335182</c:v>
                </c:pt>
                <c:pt idx="42">
                  <c:v>3032.6199497029688</c:v>
                </c:pt>
                <c:pt idx="43">
                  <c:v>3065.1843524544447</c:v>
                </c:pt>
                <c:pt idx="44">
                  <c:v>3097.3038036182234</c:v>
                </c:pt>
                <c:pt idx="45">
                  <c:v>3129.066455951142</c:v>
                </c:pt>
                <c:pt idx="46">
                  <c:v>3160.5394743922143</c:v>
                </c:pt>
                <c:pt idx="47">
                  <c:v>3191.7769021566623</c:v>
                </c:pt>
                <c:pt idx="48">
                  <c:v>3222.8224271415606</c:v>
                </c:pt>
                <c:pt idx="49">
                  <c:v>3253.7098464892088</c:v>
                </c:pt>
                <c:pt idx="50">
                  <c:v>3284.4601347182697</c:v>
                </c:pt>
                <c:pt idx="51">
                  <c:v>3315.0864805537567</c:v>
                </c:pt>
                <c:pt idx="52">
                  <c:v>3345.5956583966258</c:v>
                </c:pt>
                <c:pt idx="53">
                  <c:v>3375.9888656026092</c:v>
                </c:pt>
                <c:pt idx="54">
                  <c:v>3406.2638411973307</c:v>
                </c:pt>
                <c:pt idx="55">
                  <c:v>3436.41557882593</c:v>
                </c:pt>
                <c:pt idx="56">
                  <c:v>3466.4369273347697</c:v>
                </c:pt>
                <c:pt idx="57">
                  <c:v>3496.3201551464622</c:v>
                </c:pt>
                <c:pt idx="58">
                  <c:v>3526.0555249085683</c:v>
                </c:pt>
                <c:pt idx="59">
                  <c:v>3555.6324500542246</c:v>
                </c:pt>
                <c:pt idx="60">
                  <c:v>3585.0397968900065</c:v>
                </c:pt>
                <c:pt idx="61">
                  <c:v>3614.2663152037103</c:v>
                </c:pt>
                <c:pt idx="62">
                  <c:v>3643.300879914168</c:v>
                </c:pt>
                <c:pt idx="63">
                  <c:v>3672.1326034835615</c:v>
                </c:pt>
                <c:pt idx="64">
                  <c:v>3700.7510609180881</c:v>
                </c:pt>
                <c:pt idx="65">
                  <c:v>3729.1458055069011</c:v>
                </c:pt>
                <c:pt idx="66">
                  <c:v>3757.3065565428087</c:v>
                </c:pt>
                <c:pt idx="67">
                  <c:v>3785.2238395272684</c:v>
                </c:pt>
                <c:pt idx="68">
                  <c:v>3812.8885126697483</c:v>
                </c:pt>
                <c:pt idx="69">
                  <c:v>3840.2914580690963</c:v>
                </c:pt>
                <c:pt idx="70">
                  <c:v>3867.4252858282744</c:v>
                </c:pt>
                <c:pt idx="71">
                  <c:v>3894.2838864515847</c:v>
                </c:pt>
                <c:pt idx="72">
                  <c:v>3920.8616738820165</c:v>
                </c:pt>
                <c:pt idx="73">
                  <c:v>3947.1535987840739</c:v>
                </c:pt>
                <c:pt idx="74">
                  <c:v>3973.1551508762996</c:v>
                </c:pt>
                <c:pt idx="75">
                  <c:v>3998.8623557453102</c:v>
                </c:pt>
                <c:pt idx="76">
                  <c:v>4024.271764555524</c:v>
                </c:pt>
                <c:pt idx="77">
                  <c:v>4049.3804310935038</c:v>
                </c:pt>
                <c:pt idx="78">
                  <c:v>4074.1858782312893</c:v>
                </c:pt>
                <c:pt idx="79">
                  <c:v>4098.686047162455</c:v>
                </c:pt>
                <c:pt idx="80">
                  <c:v>4122.879259662589</c:v>
                </c:pt>
                <c:pt idx="81">
                  <c:v>4146.7641835695767</c:v>
                </c:pt>
                <c:pt idx="82">
                  <c:v>4170.3398007743863</c:v>
                </c:pt>
                <c:pt idx="83">
                  <c:v>4193.6053813693679</c:v>
                </c:pt>
                <c:pt idx="84">
                  <c:v>4216.5604597444917</c:v>
                </c:pt>
                <c:pt idx="85">
                  <c:v>4239.2048140303177</c:v>
                </c:pt>
                <c:pt idx="86">
                  <c:v>4261.5384508593816</c:v>
                </c:pt>
                <c:pt idx="87">
                  <c:v>4283.5615862409695</c:v>
                </c:pt>
                <c:pt idx="88">
                  <c:v>4305.2746309901268</c:v>
                </c:pt>
                <c:pt idx="89">
                  <c:v>4326.6781777028327</c:v>
                </c:pt>
                <c:pt idx="90">
                  <c:v>4347.7729896797646</c:v>
                </c:pt>
                <c:pt idx="91">
                  <c:v>4368.5599909424882</c:v>
                </c:pt>
                <c:pt idx="92">
                  <c:v>4389.0402572552293</c:v>
                </c:pt>
                <c:pt idx="93">
                  <c:v>4409.2150088859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590.8494398496609</c:v>
                </c:pt>
                <c:pt idx="32">
                  <c:v>2639.6937438748168</c:v>
                </c:pt>
                <c:pt idx="33">
                  <c:v>2686.5886419173207</c:v>
                </c:pt>
                <c:pt idx="34">
                  <c:v>2732.2463433763355</c:v>
                </c:pt>
                <c:pt idx="35">
                  <c:v>2777.9794368933749</c:v>
                </c:pt>
                <c:pt idx="36">
                  <c:v>2824.2422972999407</c:v>
                </c:pt>
                <c:pt idx="37">
                  <c:v>2871.2358906369996</c:v>
                </c:pt>
                <c:pt idx="38">
                  <c:v>2919.1131766058143</c:v>
                </c:pt>
                <c:pt idx="39">
                  <c:v>2968.0053272790719</c:v>
                </c:pt>
                <c:pt idx="40">
                  <c:v>3018.0311757813229</c:v>
                </c:pt>
                <c:pt idx="41">
                  <c:v>3069.2995388097906</c:v>
                </c:pt>
                <c:pt idx="42">
                  <c:v>3121.9083389423467</c:v>
                </c:pt>
                <c:pt idx="43">
                  <c:v>3175.9384707856748</c:v>
                </c:pt>
                <c:pt idx="44">
                  <c:v>3231.4609991234283</c:v>
                </c:pt>
                <c:pt idx="45">
                  <c:v>3288.5381123589436</c:v>
                </c:pt>
                <c:pt idx="46">
                  <c:v>3347.2233467445344</c:v>
                </c:pt>
                <c:pt idx="47">
                  <c:v>3407.5641477686513</c:v>
                </c:pt>
                <c:pt idx="48">
                  <c:v>3469.6021501112441</c:v>
                </c:pt>
                <c:pt idx="49">
                  <c:v>3533.3732644423226</c:v>
                </c:pt>
                <c:pt idx="50">
                  <c:v>3598.9095581028978</c:v>
                </c:pt>
                <c:pt idx="51">
                  <c:v>3666.2361519811825</c:v>
                </c:pt>
                <c:pt idx="52">
                  <c:v>3735.3725200468707</c:v>
                </c:pt>
                <c:pt idx="53">
                  <c:v>3806.3323559769046</c:v>
                </c:pt>
                <c:pt idx="54">
                  <c:v>3879.1237049951592</c:v>
                </c:pt>
                <c:pt idx="55">
                  <c:v>3953.7488444194523</c:v>
                </c:pt>
                <c:pt idx="56">
                  <c:v>4030.2039682661048</c:v>
                </c:pt>
                <c:pt idx="57">
                  <c:v>4108.4790814516027</c:v>
                </c:pt>
                <c:pt idx="58">
                  <c:v>4188.5568365757945</c:v>
                </c:pt>
                <c:pt idx="59">
                  <c:v>4270.4125124702969</c:v>
                </c:pt>
                <c:pt idx="60">
                  <c:v>4354.0147900024376</c:v>
                </c:pt>
                <c:pt idx="61">
                  <c:v>4439.3247313133725</c:v>
                </c:pt>
                <c:pt idx="62">
                  <c:v>4526.295085926743</c:v>
                </c:pt>
                <c:pt idx="63">
                  <c:v>4614.8712172977075</c:v>
                </c:pt>
                <c:pt idx="64">
                  <c:v>4704.9907496939313</c:v>
                </c:pt>
                <c:pt idx="65">
                  <c:v>4796.5829508374009</c:v>
                </c:pt>
                <c:pt idx="66">
                  <c:v>4889.5691890466551</c:v>
                </c:pt>
                <c:pt idx="67">
                  <c:v>4983.8632952644821</c:v>
                </c:pt>
                <c:pt idx="68">
                  <c:v>5079.3719286608048</c:v>
                </c:pt>
                <c:pt idx="69">
                  <c:v>5175.9949879890291</c:v>
                </c:pt>
                <c:pt idx="70">
                  <c:v>5273.6298350059733</c:v>
                </c:pt>
                <c:pt idx="71">
                  <c:v>5372.1709457858306</c:v>
                </c:pt>
                <c:pt idx="72">
                  <c:v>5471.509504766499</c:v>
                </c:pt>
                <c:pt idx="73">
                  <c:v>5571.533529052158</c:v>
                </c:pt>
                <c:pt idx="74">
                  <c:v>5672.1282809631493</c:v>
                </c:pt>
                <c:pt idx="75">
                  <c:v>5773.1768303374929</c:v>
                </c:pt>
                <c:pt idx="76">
                  <c:v>5874.5606788236028</c:v>
                </c:pt>
                <c:pt idx="77">
                  <c:v>5976.1603928685809</c:v>
                </c:pt>
                <c:pt idx="78">
                  <c:v>6077.8562265412029</c:v>
                </c:pt>
                <c:pt idx="79">
                  <c:v>6179.5286973556231</c:v>
                </c:pt>
                <c:pt idx="80">
                  <c:v>6281.0591970524656</c:v>
                </c:pt>
                <c:pt idx="81">
                  <c:v>6382.3305969412668</c:v>
                </c:pt>
                <c:pt idx="82">
                  <c:v>6483.2278379558029</c:v>
                </c:pt>
                <c:pt idx="83">
                  <c:v>6583.6385115891644</c:v>
                </c:pt>
                <c:pt idx="84">
                  <c:v>6683.453412375522</c:v>
                </c:pt>
                <c:pt idx="85">
                  <c:v>6782.5670590775699</c:v>
                </c:pt>
                <c:pt idx="86">
                  <c:v>6880.8781878032833</c:v>
                </c:pt>
                <c:pt idx="87">
                  <c:v>6978.2901831896461</c:v>
                </c:pt>
                <c:pt idx="88">
                  <c:v>7074.7114709148464</c:v>
                </c:pt>
                <c:pt idx="89">
                  <c:v>7170.0558598279404</c:v>
                </c:pt>
                <c:pt idx="90">
                  <c:v>7264.2428334020515</c:v>
                </c:pt>
                <c:pt idx="91">
                  <c:v>7357.1977873753458</c:v>
                </c:pt>
                <c:pt idx="92">
                  <c:v>7448.8522129644634</c:v>
                </c:pt>
                <c:pt idx="93">
                  <c:v>7539.14382835795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590.8494398496609</c:v>
                </c:pt>
                <c:pt idx="32">
                  <c:v>2639.6937438748168</c:v>
                </c:pt>
                <c:pt idx="33">
                  <c:v>2686.5886419173207</c:v>
                </c:pt>
                <c:pt idx="34">
                  <c:v>2732.9026376970924</c:v>
                </c:pt>
                <c:pt idx="35">
                  <c:v>2779.6251171073736</c:v>
                </c:pt>
                <c:pt idx="36">
                  <c:v>2827.4071302967027</c:v>
                </c:pt>
                <c:pt idx="37">
                  <c:v>2876.650609347038</c:v>
                </c:pt>
                <c:pt idx="38">
                  <c:v>2927.6614736608653</c:v>
                </c:pt>
                <c:pt idx="39">
                  <c:v>2980.7020673835882</c:v>
                </c:pt>
                <c:pt idx="40">
                  <c:v>3036.010056764298</c:v>
                </c:pt>
                <c:pt idx="41">
                  <c:v>3093.8030751974416</c:v>
                </c:pt>
                <c:pt idx="42">
                  <c:v>3154.2769678387613</c:v>
                </c:pt>
                <c:pt idx="43">
                  <c:v>3217.5935239016248</c:v>
                </c:pt>
                <c:pt idx="44">
                  <c:v>3283.8948729533445</c:v>
                </c:pt>
                <c:pt idx="45">
                  <c:v>3353.3053918005876</c:v>
                </c:pt>
                <c:pt idx="46">
                  <c:v>3425.9321529479666</c:v>
                </c:pt>
                <c:pt idx="47">
                  <c:v>3501.8700473724084</c:v>
                </c:pt>
                <c:pt idx="48">
                  <c:v>3581.202344433801</c:v>
                </c:pt>
                <c:pt idx="49">
                  <c:v>3664.0008654721751</c:v>
                </c:pt>
                <c:pt idx="50">
                  <c:v>3750.3297451695325</c:v>
                </c:pt>
                <c:pt idx="51">
                  <c:v>3840.2392253023045</c:v>
                </c:pt>
                <c:pt idx="52">
                  <c:v>3933.7682538098843</c:v>
                </c:pt>
                <c:pt idx="53">
                  <c:v>4030.9442180461647</c:v>
                </c:pt>
                <c:pt idx="54">
                  <c:v>4131.7832084588772</c:v>
                </c:pt>
                <c:pt idx="55">
                  <c:v>4236.289779683676</c:v>
                </c:pt>
                <c:pt idx="56">
                  <c:v>4344.4563197531888</c:v>
                </c:pt>
                <c:pt idx="57">
                  <c:v>4456.2628385003873</c:v>
                </c:pt>
                <c:pt idx="58">
                  <c:v>4571.6746411249833</c:v>
                </c:pt>
                <c:pt idx="59">
                  <c:v>4690.6422852901951</c:v>
                </c:pt>
                <c:pt idx="60">
                  <c:v>4813.1031327306846</c:v>
                </c:pt>
                <c:pt idx="61">
                  <c:v>4938.9793077287613</c:v>
                </c:pt>
                <c:pt idx="62">
                  <c:v>5068.1763093317104</c:v>
                </c:pt>
                <c:pt idx="63">
                  <c:v>5200.5848644498428</c:v>
                </c:pt>
                <c:pt idx="64">
                  <c:v>5336.0802216185029</c:v>
                </c:pt>
                <c:pt idx="65">
                  <c:v>5474.5209162816454</c:v>
                </c:pt>
                <c:pt idx="66">
                  <c:v>5615.7496850763664</c:v>
                </c:pt>
                <c:pt idx="67">
                  <c:v>5759.5941898882274</c:v>
                </c:pt>
                <c:pt idx="68">
                  <c:v>5905.8677490570753</c:v>
                </c:pt>
                <c:pt idx="69">
                  <c:v>6054.3701600897357</c:v>
                </c:pt>
                <c:pt idx="70">
                  <c:v>6204.8961464998329</c:v>
                </c:pt>
                <c:pt idx="71">
                  <c:v>6357.2346604357499</c:v>
                </c:pt>
                <c:pt idx="72">
                  <c:v>6511.1680707732958</c:v>
                </c:pt>
                <c:pt idx="73">
                  <c:v>6666.4724117208161</c:v>
                </c:pt>
                <c:pt idx="74">
                  <c:v>6822.9182079190068</c:v>
                </c:pt>
                <c:pt idx="75">
                  <c:v>6980.2715990439074</c:v>
                </c:pt>
                <c:pt idx="76">
                  <c:v>7138.2955883923341</c:v>
                </c:pt>
                <c:pt idx="77">
                  <c:v>7296.7513088585019</c:v>
                </c:pt>
                <c:pt idx="78">
                  <c:v>7455.399268579954</c:v>
                </c:pt>
                <c:pt idx="79">
                  <c:v>7614.0005025849978</c:v>
                </c:pt>
                <c:pt idx="80">
                  <c:v>7772.3177943548899</c:v>
                </c:pt>
                <c:pt idx="81">
                  <c:v>7930.1168865087002</c:v>
                </c:pt>
                <c:pt idx="82">
                  <c:v>8087.1676609139804</c:v>
                </c:pt>
                <c:pt idx="83">
                  <c:v>8243.2453005569096</c:v>
                </c:pt>
                <c:pt idx="84">
                  <c:v>8398.1313945058428</c:v>
                </c:pt>
                <c:pt idx="85">
                  <c:v>8551.6149802861364</c:v>
                </c:pt>
                <c:pt idx="86">
                  <c:v>8703.4935301137812</c:v>
                </c:pt>
                <c:pt idx="87">
                  <c:v>8853.5738132627102</c:v>
                </c:pt>
                <c:pt idx="88">
                  <c:v>9001.6726810893142</c:v>
                </c:pt>
                <c:pt idx="89">
                  <c:v>9147.6177512917093</c:v>
                </c:pt>
                <c:pt idx="90">
                  <c:v>9291.2479908161386</c:v>
                </c:pt>
                <c:pt idx="91">
                  <c:v>9432.4141911389343</c:v>
                </c:pt>
                <c:pt idx="92">
                  <c:v>9570.9793346933766</c:v>
                </c:pt>
                <c:pt idx="93">
                  <c:v>9706.81885785656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10</c:v>
                </c:pt>
                <c:pt idx="1">
                  <c:v>26</c:v>
                </c:pt>
                <c:pt idx="2">
                  <c:v>40</c:v>
                </c:pt>
                <c:pt idx="3">
                  <c:v>51</c:v>
                </c:pt>
                <c:pt idx="4">
                  <c:v>58</c:v>
                </c:pt>
                <c:pt idx="5">
                  <c:v>72</c:v>
                </c:pt>
                <c:pt idx="6">
                  <c:v>80</c:v>
                </c:pt>
                <c:pt idx="7">
                  <c:v>95</c:v>
                </c:pt>
                <c:pt idx="8">
                  <c:v>112</c:v>
                </c:pt>
                <c:pt idx="9">
                  <c:v>127</c:v>
                </c:pt>
                <c:pt idx="10">
                  <c:v>143</c:v>
                </c:pt>
                <c:pt idx="11">
                  <c:v>151</c:v>
                </c:pt>
                <c:pt idx="12">
                  <c:v>172</c:v>
                </c:pt>
                <c:pt idx="13">
                  <c:v>184</c:v>
                </c:pt>
                <c:pt idx="14">
                  <c:v>190</c:v>
                </c:pt>
                <c:pt idx="15">
                  <c:v>197</c:v>
                </c:pt>
                <c:pt idx="16">
                  <c:v>215</c:v>
                </c:pt>
                <c:pt idx="17">
                  <c:v>222</c:v>
                </c:pt>
                <c:pt idx="18">
                  <c:v>232</c:v>
                </c:pt>
                <c:pt idx="19">
                  <c:v>254</c:v>
                </c:pt>
                <c:pt idx="20">
                  <c:v>264</c:v>
                </c:pt>
                <c:pt idx="21">
                  <c:v>274</c:v>
                </c:pt>
                <c:pt idx="22">
                  <c:v>279</c:v>
                </c:pt>
                <c:pt idx="23">
                  <c:v>285</c:v>
                </c:pt>
                <c:pt idx="24">
                  <c:v>289</c:v>
                </c:pt>
                <c:pt idx="25">
                  <c:v>297</c:v>
                </c:pt>
                <c:pt idx="26">
                  <c:v>306</c:v>
                </c:pt>
                <c:pt idx="27">
                  <c:v>310</c:v>
                </c:pt>
                <c:pt idx="28">
                  <c:v>319</c:v>
                </c:pt>
                <c:pt idx="29">
                  <c:v>329</c:v>
                </c:pt>
                <c:pt idx="30">
                  <c:v>336</c:v>
                </c:pt>
                <c:pt idx="31">
                  <c:v>345</c:v>
                </c:pt>
                <c:pt idx="32">
                  <c:v>349</c:v>
                </c:pt>
                <c:pt idx="33">
                  <c:v>357</c:v>
                </c:pt>
                <c:pt idx="34">
                  <c:v>364</c:v>
                </c:pt>
                <c:pt idx="35">
                  <c:v>370</c:v>
                </c:pt>
                <c:pt idx="36">
                  <c:v>376</c:v>
                </c:pt>
                <c:pt idx="37">
                  <c:v>381</c:v>
                </c:pt>
                <c:pt idx="38">
                  <c:v>383</c:v>
                </c:pt>
                <c:pt idx="39">
                  <c:v>389</c:v>
                </c:pt>
                <c:pt idx="40">
                  <c:v>395</c:v>
                </c:pt>
                <c:pt idx="41">
                  <c:v>405</c:v>
                </c:pt>
                <c:pt idx="42">
                  <c:v>409</c:v>
                </c:pt>
                <c:pt idx="43">
                  <c:v>411</c:v>
                </c:pt>
                <c:pt idx="44">
                  <c:v>415</c:v>
                </c:pt>
                <c:pt idx="45">
                  <c:v>419</c:v>
                </c:pt>
                <c:pt idx="46">
                  <c:v>422</c:v>
                </c:pt>
                <c:pt idx="47">
                  <c:v>429</c:v>
                </c:pt>
                <c:pt idx="48">
                  <c:v>434</c:v>
                </c:pt>
                <c:pt idx="49">
                  <c:v>439</c:v>
                </c:pt>
                <c:pt idx="50">
                  <c:v>441</c:v>
                </c:pt>
                <c:pt idx="51">
                  <c:v>453</c:v>
                </c:pt>
                <c:pt idx="52">
                  <c:v>463</c:v>
                </c:pt>
                <c:pt idx="53">
                  <c:v>474</c:v>
                </c:pt>
                <c:pt idx="54">
                  <c:v>482</c:v>
                </c:pt>
                <c:pt idx="55">
                  <c:v>487</c:v>
                </c:pt>
                <c:pt idx="56">
                  <c:v>493</c:v>
                </c:pt>
                <c:pt idx="57">
                  <c:v>504</c:v>
                </c:pt>
                <c:pt idx="58">
                  <c:v>518</c:v>
                </c:pt>
                <c:pt idx="59">
                  <c:v>522</c:v>
                </c:pt>
                <c:pt idx="60">
                  <c:v>540</c:v>
                </c:pt>
                <c:pt idx="61">
                  <c:v>553</c:v>
                </c:pt>
                <c:pt idx="62">
                  <c:v>562</c:v>
                </c:pt>
                <c:pt idx="63">
                  <c:v>574</c:v>
                </c:pt>
                <c:pt idx="64">
                  <c:v>583</c:v>
                </c:pt>
                <c:pt idx="65">
                  <c:v>590</c:v>
                </c:pt>
                <c:pt idx="66">
                  <c:v>603</c:v>
                </c:pt>
                <c:pt idx="67">
                  <c:v>617</c:v>
                </c:pt>
                <c:pt idx="68">
                  <c:v>625</c:v>
                </c:pt>
                <c:pt idx="69">
                  <c:v>639</c:v>
                </c:pt>
                <c:pt idx="70">
                  <c:v>653</c:v>
                </c:pt>
                <c:pt idx="71">
                  <c:v>663</c:v>
                </c:pt>
                <c:pt idx="72">
                  <c:v>679</c:v>
                </c:pt>
                <c:pt idx="73">
                  <c:v>681</c:v>
                </c:pt>
                <c:pt idx="74">
                  <c:v>686</c:v>
                </c:pt>
                <c:pt idx="75">
                  <c:v>688</c:v>
                </c:pt>
                <c:pt idx="76">
                  <c:v>697</c:v>
                </c:pt>
                <c:pt idx="77">
                  <c:v>705</c:v>
                </c:pt>
                <c:pt idx="78">
                  <c:v>710</c:v>
                </c:pt>
                <c:pt idx="79">
                  <c:v>720</c:v>
                </c:pt>
                <c:pt idx="80">
                  <c:v>731</c:v>
                </c:pt>
                <c:pt idx="81">
                  <c:v>738</c:v>
                </c:pt>
                <c:pt idx="82">
                  <c:v>745</c:v>
                </c:pt>
                <c:pt idx="83">
                  <c:v>751</c:v>
                </c:pt>
                <c:pt idx="84">
                  <c:v>758</c:v>
                </c:pt>
                <c:pt idx="85">
                  <c:v>762</c:v>
                </c:pt>
                <c:pt idx="86">
                  <c:v>771</c:v>
                </c:pt>
                <c:pt idx="87">
                  <c:v>777</c:v>
                </c:pt>
                <c:pt idx="88">
                  <c:v>780</c:v>
                </c:pt>
                <c:pt idx="89">
                  <c:v>782</c:v>
                </c:pt>
                <c:pt idx="90">
                  <c:v>786</c:v>
                </c:pt>
                <c:pt idx="91">
                  <c:v>788</c:v>
                </c:pt>
                <c:pt idx="92">
                  <c:v>791</c:v>
                </c:pt>
                <c:pt idx="93">
                  <c:v>7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42.29815057922372</c:v>
                </c:pt>
                <c:pt idx="32">
                  <c:v>349.30851464157917</c:v>
                </c:pt>
                <c:pt idx="33">
                  <c:v>356.03909079587714</c:v>
                </c:pt>
                <c:pt idx="34">
                  <c:v>362.4979042369489</c:v>
                </c:pt>
                <c:pt idx="35">
                  <c:v>368.69298000940654</c:v>
                </c:pt>
                <c:pt idx="36">
                  <c:v>374.63901819887838</c:v>
                </c:pt>
                <c:pt idx="37">
                  <c:v>380.3434398207645</c:v>
                </c:pt>
                <c:pt idx="38">
                  <c:v>385.8136353362944</c:v>
                </c:pt>
                <c:pt idx="39">
                  <c:v>391.05694723947641</c:v>
                </c:pt>
                <c:pt idx="40">
                  <c:v>396.08065446367925</c:v>
                </c:pt>
                <c:pt idx="41">
                  <c:v>400.94720240734733</c:v>
                </c:pt>
                <c:pt idx="42">
                  <c:v>405.70313029782255</c:v>
                </c:pt>
                <c:pt idx="43">
                  <c:v>410.37692642036416</c:v>
                </c:pt>
                <c:pt idx="44">
                  <c:v>414.98686099994524</c:v>
                </c:pt>
                <c:pt idx="45">
                  <c:v>419.54558613450968</c:v>
                </c:pt>
                <c:pt idx="46">
                  <c:v>424.06274165175307</c:v>
                </c:pt>
                <c:pt idx="47">
                  <c:v>428.54608408790551</c:v>
                </c:pt>
                <c:pt idx="48">
                  <c:v>433.00188373527072</c:v>
                </c:pt>
                <c:pt idx="49">
                  <c:v>437.43499131854469</c:v>
                </c:pt>
                <c:pt idx="50">
                  <c:v>441.84841719921764</c:v>
                </c:pt>
                <c:pt idx="51">
                  <c:v>446.24405428508527</c:v>
                </c:pt>
                <c:pt idx="52">
                  <c:v>450.6228748700097</c:v>
                </c:pt>
                <c:pt idx="53">
                  <c:v>454.98505080411275</c:v>
                </c:pt>
                <c:pt idx="54">
                  <c:v>459.3302575817263</c:v>
                </c:pt>
                <c:pt idx="55">
                  <c:v>463.65777666727291</c:v>
                </c:pt>
                <c:pt idx="56">
                  <c:v>467.96658169357505</c:v>
                </c:pt>
                <c:pt idx="57">
                  <c:v>472.2555629883106</c:v>
                </c:pt>
                <c:pt idx="58">
                  <c:v>476.52332300089591</c:v>
                </c:pt>
                <c:pt idx="59">
                  <c:v>480.7683422975021</c:v>
                </c:pt>
                <c:pt idx="60">
                  <c:v>484.98902291812499</c:v>
                </c:pt>
                <c:pt idx="61">
                  <c:v>489.1837501794376</c:v>
                </c:pt>
                <c:pt idx="62">
                  <c:v>493.35092735750732</c:v>
                </c:pt>
                <c:pt idx="63">
                  <c:v>497.48899182173932</c:v>
                </c:pt>
                <c:pt idx="64">
                  <c:v>501.59644732802985</c:v>
                </c:pt>
                <c:pt idx="65">
                  <c:v>505.67179451534281</c:v>
                </c:pt>
                <c:pt idx="66">
                  <c:v>509.71355784826682</c:v>
                </c:pt>
                <c:pt idx="67">
                  <c:v>513.72037750224467</c:v>
                </c:pt>
                <c:pt idx="68">
                  <c:v>517.69094140453649</c:v>
                </c:pt>
                <c:pt idx="69">
                  <c:v>521.62394091111844</c:v>
                </c:pt>
                <c:pt idx="70">
                  <c:v>525.51831538923807</c:v>
                </c:pt>
                <c:pt idx="71">
                  <c:v>529.37318797536068</c:v>
                </c:pt>
                <c:pt idx="72">
                  <c:v>533.18775693233181</c:v>
                </c:pt>
                <c:pt idx="73">
                  <c:v>536.96129755579125</c:v>
                </c:pt>
                <c:pt idx="74">
                  <c:v>540.69316250894781</c:v>
                </c:pt>
                <c:pt idx="75">
                  <c:v>544.38278136531449</c:v>
                </c:pt>
                <c:pt idx="76">
                  <c:v>548.02965913180037</c:v>
                </c:pt>
                <c:pt idx="77">
                  <c:v>551.63337295400709</c:v>
                </c:pt>
                <c:pt idx="78">
                  <c:v>555.19356730288814</c:v>
                </c:pt>
                <c:pt idx="79">
                  <c:v>558.70994668886988</c:v>
                </c:pt>
                <c:pt idx="80">
                  <c:v>562.18227024529767</c:v>
                </c:pt>
                <c:pt idx="81">
                  <c:v>565.61034677400426</c:v>
                </c:pt>
                <c:pt idx="82">
                  <c:v>568.99403015119651</c:v>
                </c:pt>
                <c:pt idx="83">
                  <c:v>572.3332156170984</c:v>
                </c:pt>
                <c:pt idx="84">
                  <c:v>575.62783634517018</c:v>
                </c:pt>
                <c:pt idx="85">
                  <c:v>578.87786049166721</c:v>
                </c:pt>
                <c:pt idx="86">
                  <c:v>582.08328900852223</c:v>
                </c:pt>
                <c:pt idx="87">
                  <c:v>585.24415289840306</c:v>
                </c:pt>
                <c:pt idx="88">
                  <c:v>588.36051112341568</c:v>
                </c:pt>
                <c:pt idx="89">
                  <c:v>591.43244873571996</c:v>
                </c:pt>
                <c:pt idx="90">
                  <c:v>594.46007528781638</c:v>
                </c:pt>
                <c:pt idx="91">
                  <c:v>597.44352339962256</c:v>
                </c:pt>
                <c:pt idx="92">
                  <c:v>600.38294746987583</c:v>
                </c:pt>
                <c:pt idx="93">
                  <c:v>603.278522637164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42.29815057922372</c:v>
                </c:pt>
                <c:pt idx="32">
                  <c:v>349.30851464157917</c:v>
                </c:pt>
                <c:pt idx="33">
                  <c:v>356.03909079587714</c:v>
                </c:pt>
                <c:pt idx="34">
                  <c:v>362.59209868218437</c:v>
                </c:pt>
                <c:pt idx="35">
                  <c:v>369.15592719097168</c:v>
                </c:pt>
                <c:pt idx="36">
                  <c:v>375.795790333436</c:v>
                </c:pt>
                <c:pt idx="37">
                  <c:v>382.54053170023684</c:v>
                </c:pt>
                <c:pt idx="38">
                  <c:v>389.4121047865487</c:v>
                </c:pt>
                <c:pt idx="39">
                  <c:v>396.42933602469981</c:v>
                </c:pt>
                <c:pt idx="40">
                  <c:v>403.60928090319379</c:v>
                </c:pt>
                <c:pt idx="41">
                  <c:v>410.967557305811</c:v>
                </c:pt>
                <c:pt idx="42">
                  <c:v>418.51821954112444</c:v>
                </c:pt>
                <c:pt idx="43">
                  <c:v>426.27287798325762</c:v>
                </c:pt>
                <c:pt idx="44">
                  <c:v>434.24173218393651</c:v>
                </c:pt>
                <c:pt idx="45">
                  <c:v>442.43370771506858</c:v>
                </c:pt>
                <c:pt idx="46">
                  <c:v>450.85648835118474</c:v>
                </c:pt>
                <c:pt idx="47">
                  <c:v>459.5168836917623</c:v>
                </c:pt>
                <c:pt idx="48">
                  <c:v>468.42086934173386</c:v>
                </c:pt>
                <c:pt idx="49">
                  <c:v>477.57359936922512</c:v>
                </c:pt>
                <c:pt idx="50">
                  <c:v>486.97967622972152</c:v>
                </c:pt>
                <c:pt idx="51">
                  <c:v>496.64270539115756</c:v>
                </c:pt>
                <c:pt idx="52">
                  <c:v>506.56548184918358</c:v>
                </c:pt>
                <c:pt idx="53">
                  <c:v>516.74997098466906</c:v>
                </c:pt>
                <c:pt idx="54">
                  <c:v>527.19732748595391</c:v>
                </c:pt>
                <c:pt idx="55">
                  <c:v>537.9078782043938</c:v>
                </c:pt>
                <c:pt idx="56">
                  <c:v>548.88107688732453</c:v>
                </c:pt>
                <c:pt idx="57">
                  <c:v>560.11548899338732</c:v>
                </c:pt>
                <c:pt idx="58">
                  <c:v>571.60862474218652</c:v>
                </c:pt>
                <c:pt idx="59">
                  <c:v>583.35693603545621</c:v>
                </c:pt>
                <c:pt idx="60">
                  <c:v>595.35592780408797</c:v>
                </c:pt>
                <c:pt idx="61">
                  <c:v>607.60001150358789</c:v>
                </c:pt>
                <c:pt idx="62">
                  <c:v>620.08240552353095</c:v>
                </c:pt>
                <c:pt idx="63">
                  <c:v>632.79526817023157</c:v>
                </c:pt>
                <c:pt idx="64">
                  <c:v>645.72964698544399</c:v>
                </c:pt>
                <c:pt idx="65">
                  <c:v>658.87539014021434</c:v>
                </c:pt>
                <c:pt idx="66">
                  <c:v>672.22121204608197</c:v>
                </c:pt>
                <c:pt idx="67">
                  <c:v>685.75474531499572</c:v>
                </c:pt>
                <c:pt idx="68">
                  <c:v>699.46259323235847</c:v>
                </c:pt>
                <c:pt idx="69">
                  <c:v>713.33038879682317</c:v>
                </c:pt>
                <c:pt idx="70">
                  <c:v>727.34340088536999</c:v>
                </c:pt>
                <c:pt idx="71">
                  <c:v>741.48648420824668</c:v>
                </c:pt>
                <c:pt idx="72">
                  <c:v>755.74402104459102</c:v>
                </c:pt>
                <c:pt idx="73">
                  <c:v>770.09993908291983</c:v>
                </c:pt>
                <c:pt idx="74">
                  <c:v>784.53777063222765</c:v>
                </c:pt>
                <c:pt idx="75">
                  <c:v>799.04073332614212</c:v>
                </c:pt>
                <c:pt idx="76">
                  <c:v>813.59181972434874</c:v>
                </c:pt>
                <c:pt idx="77">
                  <c:v>828.17388816204584</c:v>
                </c:pt>
                <c:pt idx="78">
                  <c:v>842.76975214042625</c:v>
                </c:pt>
                <c:pt idx="79">
                  <c:v>857.36226297160147</c:v>
                </c:pt>
                <c:pt idx="80">
                  <c:v>871.93439744077443</c:v>
                </c:pt>
                <c:pt idx="81">
                  <c:v>886.46934468783206</c:v>
                </c:pt>
                <c:pt idx="82">
                  <c:v>900.95059089485824</c:v>
                </c:pt>
                <c:pt idx="83">
                  <c:v>915.36200266466642</c:v>
                </c:pt>
                <c:pt idx="84">
                  <c:v>929.68790631557897</c:v>
                </c:pt>
                <c:pt idx="85">
                  <c:v>943.91316268469802</c:v>
                </c:pt>
                <c:pt idx="86">
                  <c:v>958.0232379023405</c:v>
                </c:pt>
                <c:pt idx="87">
                  <c:v>972.0042652775528</c:v>
                </c:pt>
                <c:pt idx="88">
                  <c:v>985.84310163330588</c:v>
                </c:pt>
                <c:pt idx="89">
                  <c:v>999.52737641055239</c:v>
                </c:pt>
                <c:pt idx="90">
                  <c:v>1013.0455334989595</c:v>
                </c:pt>
                <c:pt idx="91">
                  <c:v>1026.3868653442587</c:v>
                </c:pt>
                <c:pt idx="92">
                  <c:v>1039.5415392438983</c:v>
                </c:pt>
                <c:pt idx="93">
                  <c:v>1052.5006162195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42.29815057922372</c:v>
                </c:pt>
                <c:pt idx="32">
                  <c:v>349.30851464157917</c:v>
                </c:pt>
                <c:pt idx="33">
                  <c:v>356.03909079587714</c:v>
                </c:pt>
                <c:pt idx="34">
                  <c:v>362.68629312741979</c:v>
                </c:pt>
                <c:pt idx="35">
                  <c:v>369.39212294932264</c:v>
                </c:pt>
                <c:pt idx="36">
                  <c:v>376.25002203857883</c:v>
                </c:pt>
                <c:pt idx="37">
                  <c:v>383.31767757651079</c:v>
                </c:pt>
                <c:pt idx="38">
                  <c:v>390.63899655346194</c:v>
                </c:pt>
                <c:pt idx="39">
                  <c:v>398.25163183409302</c:v>
                </c:pt>
                <c:pt idx="40">
                  <c:v>406.18969439540984</c:v>
                </c:pt>
                <c:pt idx="41">
                  <c:v>414.48442000497312</c:v>
                </c:pt>
                <c:pt idx="42">
                  <c:v>423.16391727992891</c:v>
                </c:pt>
                <c:pt idx="43">
                  <c:v>432.25140696852412</c:v>
                </c:pt>
                <c:pt idx="44">
                  <c:v>441.7672881742115</c:v>
                </c:pt>
                <c:pt idx="45">
                  <c:v>451.72941204080519</c:v>
                </c:pt>
                <c:pt idx="46">
                  <c:v>462.15314611736494</c:v>
                </c:pt>
                <c:pt idx="47">
                  <c:v>473.05210960284887</c:v>
                </c:pt>
                <c:pt idx="48">
                  <c:v>484.43825370712085</c:v>
                </c:pt>
                <c:pt idx="49">
                  <c:v>496.32188656643359</c:v>
                </c:pt>
                <c:pt idx="50">
                  <c:v>508.7122130917553</c:v>
                </c:pt>
                <c:pt idx="51">
                  <c:v>521.61644421895562</c:v>
                </c:pt>
                <c:pt idx="52">
                  <c:v>535.0401699393359</c:v>
                </c:pt>
                <c:pt idx="53">
                  <c:v>548.98732101463645</c:v>
                </c:pt>
                <c:pt idx="54">
                  <c:v>563.46020682153437</c:v>
                </c:pt>
                <c:pt idx="55">
                  <c:v>578.45948106274386</c:v>
                </c:pt>
                <c:pt idx="56">
                  <c:v>593.98405123293423</c:v>
                </c:pt>
                <c:pt idx="57">
                  <c:v>610.03104824938794</c:v>
                </c:pt>
                <c:pt idx="58">
                  <c:v>626.59549255131594</c:v>
                </c:pt>
                <c:pt idx="59">
                  <c:v>643.67028794218413</c:v>
                </c:pt>
                <c:pt idx="60">
                  <c:v>661.24644428377644</c:v>
                </c:pt>
                <c:pt idx="61">
                  <c:v>679.3127844871052</c:v>
                </c:pt>
                <c:pt idx="62">
                  <c:v>697.85574533132024</c:v>
                </c:pt>
                <c:pt idx="63">
                  <c:v>716.85964342904958</c:v>
                </c:pt>
                <c:pt idx="64">
                  <c:v>736.30657386380392</c:v>
                </c:pt>
                <c:pt idx="65">
                  <c:v>756.17623297767284</c:v>
                </c:pt>
                <c:pt idx="66">
                  <c:v>776.4460495937376</c:v>
                </c:pt>
                <c:pt idx="67">
                  <c:v>797.09128893589389</c:v>
                </c:pt>
                <c:pt idx="68">
                  <c:v>818.08515757494752</c:v>
                </c:pt>
                <c:pt idx="69">
                  <c:v>839.39892150820651</c:v>
                </c:pt>
                <c:pt idx="70">
                  <c:v>861.00311848962895</c:v>
                </c:pt>
                <c:pt idx="71">
                  <c:v>882.86745793971045</c:v>
                </c:pt>
                <c:pt idx="72">
                  <c:v>904.96070441672794</c:v>
                </c:pt>
                <c:pt idx="73">
                  <c:v>927.25071329771379</c:v>
                </c:pt>
                <c:pt idx="74">
                  <c:v>949.70454920065833</c:v>
                </c:pt>
                <c:pt idx="75">
                  <c:v>972.28864739281687</c:v>
                </c:pt>
                <c:pt idx="76">
                  <c:v>994.96899299355903</c:v>
                </c:pt>
                <c:pt idx="77">
                  <c:v>1017.7113026732827</c:v>
                </c:pt>
                <c:pt idx="78">
                  <c:v>1040.4812034343724</c:v>
                </c:pt>
                <c:pt idx="79">
                  <c:v>1063.2443979010509</c:v>
                </c:pt>
                <c:pt idx="80">
                  <c:v>1085.9668396437257</c:v>
                </c:pt>
                <c:pt idx="81">
                  <c:v>1108.6149069421699</c:v>
                </c:pt>
                <c:pt idx="82">
                  <c:v>1131.1555721605512</c:v>
                </c:pt>
                <c:pt idx="83">
                  <c:v>1153.5565685044965</c:v>
                </c:pt>
                <c:pt idx="84">
                  <c:v>1175.7865486106518</c:v>
                </c:pt>
                <c:pt idx="85">
                  <c:v>1197.8152341532175</c:v>
                </c:pt>
                <c:pt idx="86">
                  <c:v>1219.6135573928327</c:v>
                </c:pt>
                <c:pt idx="87">
                  <c:v>1241.1537849475856</c:v>
                </c:pt>
                <c:pt idx="88">
                  <c:v>1262.4096304634199</c:v>
                </c:pt>
                <c:pt idx="89">
                  <c:v>1283.3563528222417</c:v>
                </c:pt>
                <c:pt idx="90">
                  <c:v>1303.9708398033847</c:v>
                </c:pt>
                <c:pt idx="91">
                  <c:v>1324.2316762983121</c:v>
                </c:pt>
                <c:pt idx="92">
                  <c:v>1344.1191969019203</c:v>
                </c:pt>
                <c:pt idx="93">
                  <c:v>1363.6155236576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8</c:v>
                </c:pt>
                <c:pt idx="1">
                  <c:v>11</c:v>
                </c:pt>
                <c:pt idx="2">
                  <c:v>20</c:v>
                </c:pt>
                <c:pt idx="3">
                  <c:v>28</c:v>
                </c:pt>
                <c:pt idx="4">
                  <c:v>38</c:v>
                </c:pt>
                <c:pt idx="5">
                  <c:v>47</c:v>
                </c:pt>
                <c:pt idx="6">
                  <c:v>57</c:v>
                </c:pt>
                <c:pt idx="7">
                  <c:v>72</c:v>
                </c:pt>
                <c:pt idx="8">
                  <c:v>76</c:v>
                </c:pt>
                <c:pt idx="9">
                  <c:v>88</c:v>
                </c:pt>
                <c:pt idx="10">
                  <c:v>93</c:v>
                </c:pt>
                <c:pt idx="11">
                  <c:v>98</c:v>
                </c:pt>
                <c:pt idx="12">
                  <c:v>105</c:v>
                </c:pt>
                <c:pt idx="13">
                  <c:v>115</c:v>
                </c:pt>
                <c:pt idx="14">
                  <c:v>123</c:v>
                </c:pt>
                <c:pt idx="15">
                  <c:v>132</c:v>
                </c:pt>
                <c:pt idx="16">
                  <c:v>141</c:v>
                </c:pt>
                <c:pt idx="17">
                  <c:v>147</c:v>
                </c:pt>
                <c:pt idx="18">
                  <c:v>152</c:v>
                </c:pt>
                <c:pt idx="19">
                  <c:v>157</c:v>
                </c:pt>
                <c:pt idx="20">
                  <c:v>164</c:v>
                </c:pt>
                <c:pt idx="21">
                  <c:v>171</c:v>
                </c:pt>
                <c:pt idx="22">
                  <c:v>174</c:v>
                </c:pt>
                <c:pt idx="23">
                  <c:v>178</c:v>
                </c:pt>
                <c:pt idx="24">
                  <c:v>181</c:v>
                </c:pt>
                <c:pt idx="25">
                  <c:v>191</c:v>
                </c:pt>
                <c:pt idx="26">
                  <c:v>199</c:v>
                </c:pt>
                <c:pt idx="27">
                  <c:v>205</c:v>
                </c:pt>
                <c:pt idx="28">
                  <c:v>216</c:v>
                </c:pt>
                <c:pt idx="29">
                  <c:v>220</c:v>
                </c:pt>
                <c:pt idx="30">
                  <c:v>228</c:v>
                </c:pt>
                <c:pt idx="31">
                  <c:v>235</c:v>
                </c:pt>
                <c:pt idx="32">
                  <c:v>238</c:v>
                </c:pt>
                <c:pt idx="33">
                  <c:v>240</c:v>
                </c:pt>
                <c:pt idx="34">
                  <c:v>245</c:v>
                </c:pt>
                <c:pt idx="35">
                  <c:v>250</c:v>
                </c:pt>
                <c:pt idx="36">
                  <c:v>256</c:v>
                </c:pt>
                <c:pt idx="37">
                  <c:v>260</c:v>
                </c:pt>
                <c:pt idx="38">
                  <c:v>267</c:v>
                </c:pt>
                <c:pt idx="39">
                  <c:v>271</c:v>
                </c:pt>
                <c:pt idx="40">
                  <c:v>273</c:v>
                </c:pt>
                <c:pt idx="41">
                  <c:v>276</c:v>
                </c:pt>
                <c:pt idx="42">
                  <c:v>283</c:v>
                </c:pt>
                <c:pt idx="43">
                  <c:v>284</c:v>
                </c:pt>
                <c:pt idx="44">
                  <c:v>285</c:v>
                </c:pt>
                <c:pt idx="45">
                  <c:v>287</c:v>
                </c:pt>
                <c:pt idx="46">
                  <c:v>288</c:v>
                </c:pt>
                <c:pt idx="47">
                  <c:v>289</c:v>
                </c:pt>
                <c:pt idx="48">
                  <c:v>290</c:v>
                </c:pt>
                <c:pt idx="49">
                  <c:v>292</c:v>
                </c:pt>
                <c:pt idx="50">
                  <c:v>295</c:v>
                </c:pt>
                <c:pt idx="51">
                  <c:v>296</c:v>
                </c:pt>
                <c:pt idx="52">
                  <c:v>297</c:v>
                </c:pt>
                <c:pt idx="53">
                  <c:v>299</c:v>
                </c:pt>
                <c:pt idx="54">
                  <c:v>301</c:v>
                </c:pt>
                <c:pt idx="55">
                  <c:v>305</c:v>
                </c:pt>
                <c:pt idx="56">
                  <c:v>306</c:v>
                </c:pt>
                <c:pt idx="57">
                  <c:v>311</c:v>
                </c:pt>
                <c:pt idx="58">
                  <c:v>314</c:v>
                </c:pt>
                <c:pt idx="59">
                  <c:v>318</c:v>
                </c:pt>
                <c:pt idx="60">
                  <c:v>320</c:v>
                </c:pt>
                <c:pt idx="61">
                  <c:v>325</c:v>
                </c:pt>
                <c:pt idx="62">
                  <c:v>329</c:v>
                </c:pt>
                <c:pt idx="63">
                  <c:v>334</c:v>
                </c:pt>
                <c:pt idx="64">
                  <c:v>335</c:v>
                </c:pt>
                <c:pt idx="65">
                  <c:v>342</c:v>
                </c:pt>
                <c:pt idx="66">
                  <c:v>345</c:v>
                </c:pt>
                <c:pt idx="67">
                  <c:v>348</c:v>
                </c:pt>
                <c:pt idx="68">
                  <c:v>350</c:v>
                </c:pt>
                <c:pt idx="69">
                  <c:v>352</c:v>
                </c:pt>
                <c:pt idx="70">
                  <c:v>358</c:v>
                </c:pt>
                <c:pt idx="71">
                  <c:v>360</c:v>
                </c:pt>
                <c:pt idx="72">
                  <c:v>363</c:v>
                </c:pt>
                <c:pt idx="73">
                  <c:v>366</c:v>
                </c:pt>
                <c:pt idx="74">
                  <c:v>370</c:v>
                </c:pt>
                <c:pt idx="75">
                  <c:v>374</c:v>
                </c:pt>
                <c:pt idx="76">
                  <c:v>376</c:v>
                </c:pt>
                <c:pt idx="77">
                  <c:v>381</c:v>
                </c:pt>
                <c:pt idx="78">
                  <c:v>386</c:v>
                </c:pt>
                <c:pt idx="79">
                  <c:v>388</c:v>
                </c:pt>
                <c:pt idx="80">
                  <c:v>391</c:v>
                </c:pt>
                <c:pt idx="81">
                  <c:v>392</c:v>
                </c:pt>
                <c:pt idx="82">
                  <c:v>396</c:v>
                </c:pt>
                <c:pt idx="83">
                  <c:v>400</c:v>
                </c:pt>
                <c:pt idx="84">
                  <c:v>404</c:v>
                </c:pt>
                <c:pt idx="85">
                  <c:v>407</c:v>
                </c:pt>
                <c:pt idx="86">
                  <c:v>411</c:v>
                </c:pt>
                <c:pt idx="87">
                  <c:v>412</c:v>
                </c:pt>
                <c:pt idx="88">
                  <c:v>415</c:v>
                </c:pt>
                <c:pt idx="89">
                  <c:v>418</c:v>
                </c:pt>
                <c:pt idx="90">
                  <c:v>421</c:v>
                </c:pt>
                <c:pt idx="91">
                  <c:v>422</c:v>
                </c:pt>
                <c:pt idx="92">
                  <c:v>422</c:v>
                </c:pt>
                <c:pt idx="93">
                  <c:v>4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25.03944148338428</c:v>
                </c:pt>
                <c:pt idx="32">
                  <c:v>228.91959647603684</c:v>
                </c:pt>
                <c:pt idx="33">
                  <c:v>232.64489211492733</c:v>
                </c:pt>
                <c:pt idx="34">
                  <c:v>236.21977025207869</c:v>
                </c:pt>
                <c:pt idx="35">
                  <c:v>239.64867265636917</c:v>
                </c:pt>
                <c:pt idx="36">
                  <c:v>242.9397356542629</c:v>
                </c:pt>
                <c:pt idx="37">
                  <c:v>246.0970666914929</c:v>
                </c:pt>
                <c:pt idx="38">
                  <c:v>249.12475630241411</c:v>
                </c:pt>
                <c:pt idx="39">
                  <c:v>252.02686847208233</c:v>
                </c:pt>
                <c:pt idx="40">
                  <c:v>254.80743200547832</c:v>
                </c:pt>
                <c:pt idx="41">
                  <c:v>257.50100970453178</c:v>
                </c:pt>
                <c:pt idx="42">
                  <c:v>260.13336049042272</c:v>
                </c:pt>
                <c:pt idx="43">
                  <c:v>262.72025229778296</c:v>
                </c:pt>
                <c:pt idx="44">
                  <c:v>265.27179748369065</c:v>
                </c:pt>
                <c:pt idx="45">
                  <c:v>267.79499883724026</c:v>
                </c:pt>
                <c:pt idx="46">
                  <c:v>270.29519189097033</c:v>
                </c:pt>
                <c:pt idx="47">
                  <c:v>272.77666979749193</c:v>
                </c:pt>
                <c:pt idx="48">
                  <c:v>275.24290309068476</c:v>
                </c:pt>
                <c:pt idx="49">
                  <c:v>277.69657659026427</c:v>
                </c:pt>
                <c:pt idx="50">
                  <c:v>280.13935649631117</c:v>
                </c:pt>
                <c:pt idx="51">
                  <c:v>282.57229051127973</c:v>
                </c:pt>
                <c:pt idx="52">
                  <c:v>284.99591678851698</c:v>
                </c:pt>
                <c:pt idx="53">
                  <c:v>287.41033044506702</c:v>
                </c:pt>
                <c:pt idx="54">
                  <c:v>289.8153518708159</c:v>
                </c:pt>
                <c:pt idx="55">
                  <c:v>292.21058336467655</c:v>
                </c:pt>
                <c:pt idx="56">
                  <c:v>294.59545684435074</c:v>
                </c:pt>
                <c:pt idx="57">
                  <c:v>296.96935811911135</c:v>
                </c:pt>
                <c:pt idx="58">
                  <c:v>299.33151366096087</c:v>
                </c:pt>
                <c:pt idx="59">
                  <c:v>301.68108248094291</c:v>
                </c:pt>
                <c:pt idx="60">
                  <c:v>304.01718012677605</c:v>
                </c:pt>
                <c:pt idx="61">
                  <c:v>306.33891289001417</c:v>
                </c:pt>
                <c:pt idx="62">
                  <c:v>308.6453970025272</c:v>
                </c:pt>
                <c:pt idx="63">
                  <c:v>310.93576756645098</c:v>
                </c:pt>
                <c:pt idx="64">
                  <c:v>313.20919642807223</c:v>
                </c:pt>
                <c:pt idx="65">
                  <c:v>315.46485370849194</c:v>
                </c:pt>
                <c:pt idx="66">
                  <c:v>317.70192271601729</c:v>
                </c:pt>
                <c:pt idx="67">
                  <c:v>319.91965080356783</c:v>
                </c:pt>
                <c:pt idx="68">
                  <c:v>322.11731175413865</c:v>
                </c:pt>
                <c:pt idx="69">
                  <c:v>324.29418124847939</c:v>
                </c:pt>
                <c:pt idx="70">
                  <c:v>326.44967223869446</c:v>
                </c:pt>
                <c:pt idx="71">
                  <c:v>328.5832993910135</c:v>
                </c:pt>
                <c:pt idx="72">
                  <c:v>330.69461895324406</c:v>
                </c:pt>
                <c:pt idx="73">
                  <c:v>332.78322980994955</c:v>
                </c:pt>
                <c:pt idx="74">
                  <c:v>334.84877366774316</c:v>
                </c:pt>
                <c:pt idx="75">
                  <c:v>336.89093480219725</c:v>
                </c:pt>
                <c:pt idx="76">
                  <c:v>338.90943924039181</c:v>
                </c:pt>
                <c:pt idx="77">
                  <c:v>340.90405293733414</c:v>
                </c:pt>
                <c:pt idx="78">
                  <c:v>342.87457911183111</c:v>
                </c:pt>
                <c:pt idx="79">
                  <c:v>344.8208542138396</c:v>
                </c:pt>
                <c:pt idx="80">
                  <c:v>346.74274492646708</c:v>
                </c:pt>
                <c:pt idx="81">
                  <c:v>348.64014542375116</c:v>
                </c:pt>
                <c:pt idx="82">
                  <c:v>350.51297482787152</c:v>
                </c:pt>
                <c:pt idx="83">
                  <c:v>352.3611751555103</c:v>
                </c:pt>
                <c:pt idx="84">
                  <c:v>354.1847094189547</c:v>
                </c:pt>
                <c:pt idx="85">
                  <c:v>355.98355999306239</c:v>
                </c:pt>
                <c:pt idx="86">
                  <c:v>357.757727404717</c:v>
                </c:pt>
                <c:pt idx="87">
                  <c:v>359.50722881353477</c:v>
                </c:pt>
                <c:pt idx="88">
                  <c:v>361.23209685435569</c:v>
                </c:pt>
                <c:pt idx="89">
                  <c:v>362.9323786025613</c:v>
                </c:pt>
                <c:pt idx="90">
                  <c:v>364.60813469418679</c:v>
                </c:pt>
                <c:pt idx="91">
                  <c:v>366.25943853281439</c:v>
                </c:pt>
                <c:pt idx="92">
                  <c:v>367.88637557634991</c:v>
                </c:pt>
                <c:pt idx="93">
                  <c:v>369.489042761965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25.03944148338428</c:v>
                </c:pt>
                <c:pt idx="32">
                  <c:v>228.91959647603684</c:v>
                </c:pt>
                <c:pt idx="33">
                  <c:v>232.64489211492733</c:v>
                </c:pt>
                <c:pt idx="34">
                  <c:v>236.27190578223224</c:v>
                </c:pt>
                <c:pt idx="35">
                  <c:v>239.90490853825872</c:v>
                </c:pt>
                <c:pt idx="36">
                  <c:v>243.57999557990178</c:v>
                </c:pt>
                <c:pt idx="37">
                  <c:v>247.31313149920086</c:v>
                </c:pt>
                <c:pt idx="38">
                  <c:v>251.11646730046184</c:v>
                </c:pt>
                <c:pt idx="39">
                  <c:v>255.00042319506642</c:v>
                </c:pt>
                <c:pt idx="40">
                  <c:v>258.97443919758166</c:v>
                </c:pt>
                <c:pt idx="41">
                  <c:v>263.04715962507674</c:v>
                </c:pt>
                <c:pt idx="42">
                  <c:v>267.22636337392464</c:v>
                </c:pt>
                <c:pt idx="43">
                  <c:v>271.51847665119834</c:v>
                </c:pt>
                <c:pt idx="44">
                  <c:v>275.92914479017878</c:v>
                </c:pt>
                <c:pt idx="45">
                  <c:v>280.46330799113093</c:v>
                </c:pt>
                <c:pt idx="46">
                  <c:v>285.12521913391151</c:v>
                </c:pt>
                <c:pt idx="47">
                  <c:v>289.91864725264981</c:v>
                </c:pt>
                <c:pt idx="48">
                  <c:v>294.84689977519218</c:v>
                </c:pt>
                <c:pt idx="49">
                  <c:v>299.91282941831525</c:v>
                </c:pt>
                <c:pt idx="50">
                  <c:v>305.11898358761329</c:v>
                </c:pt>
                <c:pt idx="51">
                  <c:v>310.46735786766396</c:v>
                </c:pt>
                <c:pt idx="52">
                  <c:v>315.95949925605976</c:v>
                </c:pt>
                <c:pt idx="53">
                  <c:v>321.59649556825872</c:v>
                </c:pt>
                <c:pt idx="54">
                  <c:v>327.37898591083035</c:v>
                </c:pt>
                <c:pt idx="55">
                  <c:v>333.30715119219946</c:v>
                </c:pt>
                <c:pt idx="56">
                  <c:v>339.3806890678681</c:v>
                </c:pt>
                <c:pt idx="57">
                  <c:v>345.59880553587493</c:v>
                </c:pt>
                <c:pt idx="58">
                  <c:v>351.96012253172194</c:v>
                </c:pt>
                <c:pt idx="59">
                  <c:v>358.46267622427581</c:v>
                </c:pt>
                <c:pt idx="60">
                  <c:v>365.10397864505336</c:v>
                </c:pt>
                <c:pt idx="61">
                  <c:v>371.88093659966029</c:v>
                </c:pt>
                <c:pt idx="62">
                  <c:v>378.78979654558225</c:v>
                </c:pt>
                <c:pt idx="63">
                  <c:v>385.82621819654673</c:v>
                </c:pt>
                <c:pt idx="64">
                  <c:v>392.98524647101311</c:v>
                </c:pt>
                <c:pt idx="65">
                  <c:v>400.26126244969993</c:v>
                </c:pt>
                <c:pt idx="66">
                  <c:v>407.64801969062199</c:v>
                </c:pt>
                <c:pt idx="67">
                  <c:v>415.13867298829979</c:v>
                </c:pt>
                <c:pt idx="68">
                  <c:v>422.72580741697959</c:v>
                </c:pt>
                <c:pt idx="69">
                  <c:v>430.401471008474</c:v>
                </c:pt>
                <c:pt idx="70">
                  <c:v>438.15751025748364</c:v>
                </c:pt>
                <c:pt idx="71">
                  <c:v>445.98554242223867</c:v>
                </c:pt>
                <c:pt idx="72">
                  <c:v>453.87692327584318</c:v>
                </c:pt>
                <c:pt idx="73">
                  <c:v>461.82275698077871</c:v>
                </c:pt>
                <c:pt idx="74">
                  <c:v>469.8139288615584</c:v>
                </c:pt>
                <c:pt idx="75">
                  <c:v>477.84115007353898</c:v>
                </c:pt>
                <c:pt idx="76">
                  <c:v>485.89500719626733</c:v>
                </c:pt>
                <c:pt idx="77">
                  <c:v>493.96601251759733</c:v>
                </c:pt>
                <c:pt idx="78">
                  <c:v>502.04465351028227</c:v>
                </c:pt>
                <c:pt idx="79">
                  <c:v>510.12143857497921</c:v>
                </c:pt>
                <c:pt idx="80">
                  <c:v>518.18694556024241</c:v>
                </c:pt>
                <c:pt idx="81">
                  <c:v>526.23186985047425</c:v>
                </c:pt>
                <c:pt idx="82">
                  <c:v>534.24707123947951</c:v>
                </c:pt>
                <c:pt idx="83">
                  <c:v>542.2236200795129</c:v>
                </c:pt>
                <c:pt idx="84">
                  <c:v>550.15284117001795</c:v>
                </c:pt>
                <c:pt idx="85">
                  <c:v>558.02635516036753</c:v>
                </c:pt>
                <c:pt idx="86">
                  <c:v>565.83611772269057</c:v>
                </c:pt>
                <c:pt idx="87">
                  <c:v>573.57445380478487</c:v>
                </c:pt>
                <c:pt idx="88">
                  <c:v>581.23408881099238</c:v>
                </c:pt>
                <c:pt idx="89">
                  <c:v>588.80817578072413</c:v>
                </c:pt>
                <c:pt idx="90">
                  <c:v>596.29031854128436</c:v>
                </c:pt>
                <c:pt idx="91">
                  <c:v>603.67459058589191</c:v>
                </c:pt>
                <c:pt idx="92">
                  <c:v>610.95554962801805</c:v>
                </c:pt>
                <c:pt idx="93">
                  <c:v>618.128248047126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25.03944148338428</c:v>
                </c:pt>
                <c:pt idx="32">
                  <c:v>228.91959647603684</c:v>
                </c:pt>
                <c:pt idx="33">
                  <c:v>232.64489211492733</c:v>
                </c:pt>
                <c:pt idx="34">
                  <c:v>236.32404131238582</c:v>
                </c:pt>
                <c:pt idx="35">
                  <c:v>240.03564014404367</c:v>
                </c:pt>
                <c:pt idx="36">
                  <c:v>243.83140754693432</c:v>
                </c:pt>
                <c:pt idx="37">
                  <c:v>247.74327270513851</c:v>
                </c:pt>
                <c:pt idx="38">
                  <c:v>251.79553762726496</c:v>
                </c:pt>
                <c:pt idx="39">
                  <c:v>256.00904273607938</c:v>
                </c:pt>
                <c:pt idx="40">
                  <c:v>260.4026680607152</c:v>
                </c:pt>
                <c:pt idx="41">
                  <c:v>264.99370223531071</c:v>
                </c:pt>
                <c:pt idx="42">
                  <c:v>269.79770305261184</c:v>
                </c:pt>
                <c:pt idx="43">
                  <c:v>274.82752292676457</c:v>
                </c:pt>
                <c:pt idx="44">
                  <c:v>280.09445252433107</c:v>
                </c:pt>
                <c:pt idx="45">
                  <c:v>285.60837224584105</c:v>
                </c:pt>
                <c:pt idx="46">
                  <c:v>291.3777878510067</c:v>
                </c:pt>
                <c:pt idx="47">
                  <c:v>297.41023740808851</c:v>
                </c:pt>
                <c:pt idx="48">
                  <c:v>303.7123357727786</c:v>
                </c:pt>
                <c:pt idx="49">
                  <c:v>310.28978837863076</c:v>
                </c:pt>
                <c:pt idx="50">
                  <c:v>317.14769003683205</c:v>
                </c:pt>
                <c:pt idx="51">
                  <c:v>324.29003191653823</c:v>
                </c:pt>
                <c:pt idx="52">
                  <c:v>331.71990801293475</c:v>
                </c:pt>
                <c:pt idx="53">
                  <c:v>339.43949395693835</c:v>
                </c:pt>
                <c:pt idx="54">
                  <c:v>347.4500679616865</c:v>
                </c:pt>
                <c:pt idx="55">
                  <c:v>355.75199184403033</c:v>
                </c:pt>
                <c:pt idx="56">
                  <c:v>364.34466091497291</c:v>
                </c:pt>
                <c:pt idx="57">
                  <c:v>373.2264871705915</c:v>
                </c:pt>
                <c:pt idx="58">
                  <c:v>382.39471448189119</c:v>
                </c:pt>
                <c:pt idx="59">
                  <c:v>391.84541518660427</c:v>
                </c:pt>
                <c:pt idx="60">
                  <c:v>401.57361334776465</c:v>
                </c:pt>
                <c:pt idx="61">
                  <c:v>411.57312257658384</c:v>
                </c:pt>
                <c:pt idx="62">
                  <c:v>421.83643578803304</c:v>
                </c:pt>
                <c:pt idx="63">
                  <c:v>432.35487240956695</c:v>
                </c:pt>
                <c:pt idx="64">
                  <c:v>443.11852227810539</c:v>
                </c:pt>
                <c:pt idx="65">
                  <c:v>454.11614755508396</c:v>
                </c:pt>
                <c:pt idx="66">
                  <c:v>465.33525535653376</c:v>
                </c:pt>
                <c:pt idx="67">
                  <c:v>476.76215527149463</c:v>
                </c:pt>
                <c:pt idx="68">
                  <c:v>488.38201744845918</c:v>
                </c:pt>
                <c:pt idx="69">
                  <c:v>500.17893795105374</c:v>
                </c:pt>
                <c:pt idx="70">
                  <c:v>512.13660976867823</c:v>
                </c:pt>
                <c:pt idx="71">
                  <c:v>524.23826741779317</c:v>
                </c:pt>
                <c:pt idx="72">
                  <c:v>536.46662244460754</c:v>
                </c:pt>
                <c:pt idx="73">
                  <c:v>548.80388317408347</c:v>
                </c:pt>
                <c:pt idx="74">
                  <c:v>561.23182025524807</c:v>
                </c:pt>
                <c:pt idx="75">
                  <c:v>573.73185599881492</c:v>
                </c:pt>
                <c:pt idx="76">
                  <c:v>586.28516356387684</c:v>
                </c:pt>
                <c:pt idx="77">
                  <c:v>598.87276752614252</c:v>
                </c:pt>
                <c:pt idx="78">
                  <c:v>611.47564283111774</c:v>
                </c:pt>
                <c:pt idx="79">
                  <c:v>624.07480628011649</c:v>
                </c:pt>
                <c:pt idx="80">
                  <c:v>636.65141357024811</c:v>
                </c:pt>
                <c:pt idx="81">
                  <c:v>649.18685547031714</c:v>
                </c:pt>
                <c:pt idx="82">
                  <c:v>661.66285156793288</c:v>
                </c:pt>
                <c:pt idx="83">
                  <c:v>674.06154256760487</c:v>
                </c:pt>
                <c:pt idx="84">
                  <c:v>686.36557806822111</c:v>
                </c:pt>
                <c:pt idx="85">
                  <c:v>698.55819936852481</c:v>
                </c:pt>
                <c:pt idx="86">
                  <c:v>710.62331781277692</c:v>
                </c:pt>
                <c:pt idx="87">
                  <c:v>722.54558329657027</c:v>
                </c:pt>
                <c:pt idx="88">
                  <c:v>734.31044662859028</c:v>
                </c:pt>
                <c:pt idx="89">
                  <c:v>745.90421388765913</c:v>
                </c:pt>
                <c:pt idx="90">
                  <c:v>757.31409272838482</c:v>
                </c:pt>
                <c:pt idx="91">
                  <c:v>768.52823013720513</c:v>
                </c:pt>
                <c:pt idx="92">
                  <c:v>779.53574154106275</c:v>
                </c:pt>
                <c:pt idx="93">
                  <c:v>790.326731698885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5</c:v>
                </c:pt>
                <c:pt idx="1">
                  <c:v>9</c:v>
                </c:pt>
                <c:pt idx="2">
                  <c:v>18</c:v>
                </c:pt>
                <c:pt idx="3">
                  <c:v>22</c:v>
                </c:pt>
                <c:pt idx="4">
                  <c:v>31</c:v>
                </c:pt>
                <c:pt idx="5">
                  <c:v>40</c:v>
                </c:pt>
                <c:pt idx="6">
                  <c:v>47</c:v>
                </c:pt>
                <c:pt idx="7">
                  <c:v>55</c:v>
                </c:pt>
                <c:pt idx="8">
                  <c:v>62</c:v>
                </c:pt>
                <c:pt idx="9">
                  <c:v>67</c:v>
                </c:pt>
                <c:pt idx="10">
                  <c:v>70</c:v>
                </c:pt>
                <c:pt idx="11">
                  <c:v>76</c:v>
                </c:pt>
                <c:pt idx="12">
                  <c:v>82</c:v>
                </c:pt>
                <c:pt idx="13">
                  <c:v>88</c:v>
                </c:pt>
                <c:pt idx="14">
                  <c:v>94</c:v>
                </c:pt>
                <c:pt idx="15">
                  <c:v>97</c:v>
                </c:pt>
                <c:pt idx="16">
                  <c:v>103</c:v>
                </c:pt>
                <c:pt idx="17">
                  <c:v>107</c:v>
                </c:pt>
                <c:pt idx="18">
                  <c:v>108</c:v>
                </c:pt>
                <c:pt idx="19">
                  <c:v>114</c:v>
                </c:pt>
                <c:pt idx="20">
                  <c:v>116</c:v>
                </c:pt>
                <c:pt idx="21">
                  <c:v>122</c:v>
                </c:pt>
                <c:pt idx="22">
                  <c:v>126</c:v>
                </c:pt>
                <c:pt idx="23">
                  <c:v>129</c:v>
                </c:pt>
                <c:pt idx="24">
                  <c:v>132</c:v>
                </c:pt>
                <c:pt idx="25">
                  <c:v>135</c:v>
                </c:pt>
                <c:pt idx="26">
                  <c:v>138</c:v>
                </c:pt>
                <c:pt idx="27">
                  <c:v>145</c:v>
                </c:pt>
                <c:pt idx="28">
                  <c:v>147</c:v>
                </c:pt>
                <c:pt idx="29">
                  <c:v>149</c:v>
                </c:pt>
                <c:pt idx="30">
                  <c:v>150</c:v>
                </c:pt>
                <c:pt idx="31">
                  <c:v>153</c:v>
                </c:pt>
                <c:pt idx="32">
                  <c:v>153</c:v>
                </c:pt>
                <c:pt idx="33">
                  <c:v>155</c:v>
                </c:pt>
                <c:pt idx="34">
                  <c:v>159</c:v>
                </c:pt>
                <c:pt idx="35">
                  <c:v>161</c:v>
                </c:pt>
                <c:pt idx="36">
                  <c:v>162</c:v>
                </c:pt>
                <c:pt idx="37">
                  <c:v>165</c:v>
                </c:pt>
                <c:pt idx="38">
                  <c:v>167</c:v>
                </c:pt>
                <c:pt idx="39">
                  <c:v>168</c:v>
                </c:pt>
                <c:pt idx="40">
                  <c:v>169</c:v>
                </c:pt>
                <c:pt idx="41">
                  <c:v>171</c:v>
                </c:pt>
                <c:pt idx="42">
                  <c:v>173</c:v>
                </c:pt>
                <c:pt idx="43">
                  <c:v>177</c:v>
                </c:pt>
                <c:pt idx="44">
                  <c:v>177</c:v>
                </c:pt>
                <c:pt idx="45">
                  <c:v>180</c:v>
                </c:pt>
                <c:pt idx="46">
                  <c:v>180</c:v>
                </c:pt>
                <c:pt idx="47">
                  <c:v>180</c:v>
                </c:pt>
                <c:pt idx="48">
                  <c:v>180</c:v>
                </c:pt>
                <c:pt idx="49">
                  <c:v>184</c:v>
                </c:pt>
                <c:pt idx="50">
                  <c:v>185</c:v>
                </c:pt>
                <c:pt idx="51">
                  <c:v>188</c:v>
                </c:pt>
                <c:pt idx="52">
                  <c:v>193</c:v>
                </c:pt>
                <c:pt idx="53">
                  <c:v>193</c:v>
                </c:pt>
                <c:pt idx="54">
                  <c:v>195</c:v>
                </c:pt>
                <c:pt idx="55">
                  <c:v>195</c:v>
                </c:pt>
                <c:pt idx="56">
                  <c:v>199</c:v>
                </c:pt>
                <c:pt idx="57">
                  <c:v>201</c:v>
                </c:pt>
                <c:pt idx="58">
                  <c:v>202</c:v>
                </c:pt>
                <c:pt idx="59">
                  <c:v>202</c:v>
                </c:pt>
                <c:pt idx="60">
                  <c:v>203</c:v>
                </c:pt>
                <c:pt idx="61">
                  <c:v>204</c:v>
                </c:pt>
                <c:pt idx="62">
                  <c:v>209</c:v>
                </c:pt>
                <c:pt idx="63">
                  <c:v>210</c:v>
                </c:pt>
                <c:pt idx="64">
                  <c:v>212</c:v>
                </c:pt>
                <c:pt idx="65">
                  <c:v>217</c:v>
                </c:pt>
                <c:pt idx="66">
                  <c:v>217</c:v>
                </c:pt>
                <c:pt idx="67">
                  <c:v>218</c:v>
                </c:pt>
                <c:pt idx="68">
                  <c:v>221</c:v>
                </c:pt>
                <c:pt idx="69">
                  <c:v>225</c:v>
                </c:pt>
                <c:pt idx="70">
                  <c:v>226</c:v>
                </c:pt>
                <c:pt idx="71">
                  <c:v>229</c:v>
                </c:pt>
                <c:pt idx="72">
                  <c:v>233</c:v>
                </c:pt>
                <c:pt idx="73">
                  <c:v>237</c:v>
                </c:pt>
                <c:pt idx="74">
                  <c:v>237</c:v>
                </c:pt>
                <c:pt idx="75">
                  <c:v>245</c:v>
                </c:pt>
                <c:pt idx="76">
                  <c:v>249</c:v>
                </c:pt>
                <c:pt idx="77">
                  <c:v>254</c:v>
                </c:pt>
                <c:pt idx="78">
                  <c:v>258</c:v>
                </c:pt>
                <c:pt idx="79">
                  <c:v>266</c:v>
                </c:pt>
                <c:pt idx="80">
                  <c:v>268</c:v>
                </c:pt>
                <c:pt idx="81">
                  <c:v>268</c:v>
                </c:pt>
                <c:pt idx="82">
                  <c:v>272</c:v>
                </c:pt>
                <c:pt idx="83">
                  <c:v>275</c:v>
                </c:pt>
                <c:pt idx="84">
                  <c:v>276</c:v>
                </c:pt>
                <c:pt idx="85">
                  <c:v>279</c:v>
                </c:pt>
                <c:pt idx="86">
                  <c:v>284</c:v>
                </c:pt>
                <c:pt idx="87">
                  <c:v>284</c:v>
                </c:pt>
                <c:pt idx="88">
                  <c:v>287</c:v>
                </c:pt>
                <c:pt idx="89">
                  <c:v>291</c:v>
                </c:pt>
                <c:pt idx="90">
                  <c:v>291</c:v>
                </c:pt>
                <c:pt idx="91">
                  <c:v>295</c:v>
                </c:pt>
                <c:pt idx="92">
                  <c:v>296</c:v>
                </c:pt>
                <c:pt idx="93">
                  <c:v>2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51.85137045885949</c:v>
                </c:pt>
                <c:pt idx="32">
                  <c:v>154.59030339484954</c:v>
                </c:pt>
                <c:pt idx="33">
                  <c:v>157.21992384583106</c:v>
                </c:pt>
                <c:pt idx="34">
                  <c:v>159.74336723676143</c:v>
                </c:pt>
                <c:pt idx="35">
                  <c:v>162.16376893390768</c:v>
                </c:pt>
                <c:pt idx="36">
                  <c:v>164.48687222653854</c:v>
                </c:pt>
                <c:pt idx="37">
                  <c:v>166.71557648811265</c:v>
                </c:pt>
                <c:pt idx="38">
                  <c:v>168.85276915464527</c:v>
                </c:pt>
                <c:pt idx="39">
                  <c:v>170.90131892146988</c:v>
                </c:pt>
                <c:pt idx="40">
                  <c:v>172.86406965092587</c:v>
                </c:pt>
                <c:pt idx="41">
                  <c:v>174.76541861496364</c:v>
                </c:pt>
                <c:pt idx="42">
                  <c:v>176.62354858147489</c:v>
                </c:pt>
                <c:pt idx="43">
                  <c:v>178.44958985725859</c:v>
                </c:pt>
                <c:pt idx="44">
                  <c:v>180.25068057672283</c:v>
                </c:pt>
                <c:pt idx="45">
                  <c:v>182.03176388511079</c:v>
                </c:pt>
                <c:pt idx="46">
                  <c:v>183.79660604068496</c:v>
                </c:pt>
                <c:pt idx="47">
                  <c:v>185.54823750411197</c:v>
                </c:pt>
                <c:pt idx="48">
                  <c:v>187.28910806401279</c:v>
                </c:pt>
                <c:pt idx="49">
                  <c:v>189.02111288724541</c:v>
                </c:pt>
                <c:pt idx="50">
                  <c:v>190.74542811504321</c:v>
                </c:pt>
                <c:pt idx="51">
                  <c:v>192.46279330207986</c:v>
                </c:pt>
                <c:pt idx="52">
                  <c:v>194.17358832130614</c:v>
                </c:pt>
                <c:pt idx="53">
                  <c:v>195.877880314165</c:v>
                </c:pt>
                <c:pt idx="54">
                  <c:v>197.57554249704657</c:v>
                </c:pt>
                <c:pt idx="55">
                  <c:v>199.26629413977176</c:v>
                </c:pt>
                <c:pt idx="56">
                  <c:v>200.94973424307119</c:v>
                </c:pt>
                <c:pt idx="57">
                  <c:v>202.62542926054925</c:v>
                </c:pt>
                <c:pt idx="58">
                  <c:v>204.29283317244304</c:v>
                </c:pt>
                <c:pt idx="59">
                  <c:v>205.95135233948918</c:v>
                </c:pt>
                <c:pt idx="60">
                  <c:v>207.60036244243022</c:v>
                </c:pt>
                <c:pt idx="61">
                  <c:v>209.23923262824539</c:v>
                </c:pt>
                <c:pt idx="62">
                  <c:v>210.86733906060752</c:v>
                </c:pt>
                <c:pt idx="63">
                  <c:v>212.48407122337724</c:v>
                </c:pt>
                <c:pt idx="64">
                  <c:v>214.08884453746285</c:v>
                </c:pt>
                <c:pt idx="65">
                  <c:v>215.68107320599441</c:v>
                </c:pt>
                <c:pt idx="66">
                  <c:v>217.2601807407182</c:v>
                </c:pt>
                <c:pt idx="67">
                  <c:v>218.82563586134211</c:v>
                </c:pt>
                <c:pt idx="68">
                  <c:v>220.37692594409796</c:v>
                </c:pt>
                <c:pt idx="69">
                  <c:v>221.91353970480907</c:v>
                </c:pt>
                <c:pt idx="70">
                  <c:v>223.43506275672559</c:v>
                </c:pt>
                <c:pt idx="71">
                  <c:v>224.94115251130373</c:v>
                </c:pt>
                <c:pt idx="72">
                  <c:v>226.43149573170177</c:v>
                </c:pt>
                <c:pt idx="73">
                  <c:v>227.90580927761152</c:v>
                </c:pt>
                <c:pt idx="74">
                  <c:v>229.3638402360541</c:v>
                </c:pt>
                <c:pt idx="75">
                  <c:v>230.80536574272759</c:v>
                </c:pt>
                <c:pt idx="76">
                  <c:v>232.23019240498255</c:v>
                </c:pt>
                <c:pt idx="77">
                  <c:v>233.63815501458888</c:v>
                </c:pt>
                <c:pt idx="78">
                  <c:v>235.02911466717498</c:v>
                </c:pt>
                <c:pt idx="79">
                  <c:v>236.40295591565155</c:v>
                </c:pt>
                <c:pt idx="80">
                  <c:v>237.75958465397682</c:v>
                </c:pt>
                <c:pt idx="81">
                  <c:v>239.09892618147146</c:v>
                </c:pt>
                <c:pt idx="82">
                  <c:v>240.42092340790936</c:v>
                </c:pt>
                <c:pt idx="83">
                  <c:v>241.72553540388967</c:v>
                </c:pt>
                <c:pt idx="84">
                  <c:v>243.01273606043864</c:v>
                </c:pt>
                <c:pt idx="85">
                  <c:v>244.28251293627935</c:v>
                </c:pt>
                <c:pt idx="86">
                  <c:v>245.53486640332966</c:v>
                </c:pt>
                <c:pt idx="87">
                  <c:v>246.76980857425986</c:v>
                </c:pt>
                <c:pt idx="88">
                  <c:v>247.98736248542755</c:v>
                </c:pt>
                <c:pt idx="89">
                  <c:v>249.18756136651388</c:v>
                </c:pt>
                <c:pt idx="90">
                  <c:v>250.37044801942596</c:v>
                </c:pt>
                <c:pt idx="91">
                  <c:v>251.53607425845721</c:v>
                </c:pt>
                <c:pt idx="92">
                  <c:v>252.68450040683524</c:v>
                </c:pt>
                <c:pt idx="93">
                  <c:v>253.815794890799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51.85137045885949</c:v>
                </c:pt>
                <c:pt idx="32">
                  <c:v>154.59030339484954</c:v>
                </c:pt>
                <c:pt idx="33">
                  <c:v>157.21992384583106</c:v>
                </c:pt>
                <c:pt idx="34">
                  <c:v>159.78016878745805</c:v>
                </c:pt>
                <c:pt idx="35">
                  <c:v>162.34464132112379</c:v>
                </c:pt>
                <c:pt idx="36">
                  <c:v>164.93882040934241</c:v>
                </c:pt>
                <c:pt idx="37">
                  <c:v>167.57397517590647</c:v>
                </c:pt>
                <c:pt idx="38">
                  <c:v>170.25868280032597</c:v>
                </c:pt>
                <c:pt idx="39">
                  <c:v>173.00029872592918</c:v>
                </c:pt>
                <c:pt idx="40">
                  <c:v>175.80548649241055</c:v>
                </c:pt>
                <c:pt idx="41">
                  <c:v>178.6803479706424</c:v>
                </c:pt>
                <c:pt idx="42">
                  <c:v>181.63037414629974</c:v>
                </c:pt>
                <c:pt idx="43">
                  <c:v>184.66010116555179</c:v>
                </c:pt>
                <c:pt idx="44">
                  <c:v>187.77351396953796</c:v>
                </c:pt>
                <c:pt idx="45">
                  <c:v>190.97409975844536</c:v>
                </c:pt>
                <c:pt idx="46">
                  <c:v>194.26486056511399</c:v>
                </c:pt>
                <c:pt idx="47">
                  <c:v>197.64845688422335</c:v>
                </c:pt>
                <c:pt idx="48">
                  <c:v>201.12722337072387</c:v>
                </c:pt>
                <c:pt idx="49">
                  <c:v>204.70317370704603</c:v>
                </c:pt>
                <c:pt idx="50">
                  <c:v>208.37810606184462</c:v>
                </c:pt>
                <c:pt idx="51">
                  <c:v>212.15342908305684</c:v>
                </c:pt>
                <c:pt idx="52">
                  <c:v>216.03023476898329</c:v>
                </c:pt>
                <c:pt idx="53">
                  <c:v>220.00929098935902</c:v>
                </c:pt>
                <c:pt idx="54">
                  <c:v>224.09104887823312</c:v>
                </c:pt>
                <c:pt idx="55">
                  <c:v>228.27563613567011</c:v>
                </c:pt>
                <c:pt idx="56">
                  <c:v>232.56283934202446</c:v>
                </c:pt>
                <c:pt idx="57">
                  <c:v>236.95209802532341</c:v>
                </c:pt>
                <c:pt idx="58">
                  <c:v>241.4424394341566</c:v>
                </c:pt>
                <c:pt idx="59">
                  <c:v>246.03247733478287</c:v>
                </c:pt>
                <c:pt idx="60">
                  <c:v>250.72045551415525</c:v>
                </c:pt>
                <c:pt idx="61">
                  <c:v>255.50419054093663</c:v>
                </c:pt>
                <c:pt idx="62">
                  <c:v>260.38103285570509</c:v>
                </c:pt>
                <c:pt idx="63">
                  <c:v>265.34791872697417</c:v>
                </c:pt>
                <c:pt idx="64">
                  <c:v>270.40135045012693</c:v>
                </c:pt>
                <c:pt idx="65">
                  <c:v>275.53736172919997</c:v>
                </c:pt>
                <c:pt idx="66">
                  <c:v>280.75154331102732</c:v>
                </c:pt>
                <c:pt idx="67">
                  <c:v>286.03906328585873</c:v>
                </c:pt>
                <c:pt idx="68">
                  <c:v>291.39468758845624</c:v>
                </c:pt>
                <c:pt idx="69">
                  <c:v>296.81280306480522</c:v>
                </c:pt>
                <c:pt idx="70">
                  <c:v>302.28765429940023</c:v>
                </c:pt>
                <c:pt idx="71">
                  <c:v>307.81332406275669</c:v>
                </c:pt>
                <c:pt idx="72">
                  <c:v>313.383710547654</c:v>
                </c:pt>
                <c:pt idx="73">
                  <c:v>318.99253433937315</c:v>
                </c:pt>
                <c:pt idx="74">
                  <c:v>324.63336154933529</c:v>
                </c:pt>
                <c:pt idx="75">
                  <c:v>330.29963534602746</c:v>
                </c:pt>
                <c:pt idx="76">
                  <c:v>335.98471096207101</c:v>
                </c:pt>
                <c:pt idx="77">
                  <c:v>341.68189118889222</c:v>
                </c:pt>
                <c:pt idx="78">
                  <c:v>347.38446130137572</c:v>
                </c:pt>
                <c:pt idx="79">
                  <c:v>353.08572134704417</c:v>
                </c:pt>
                <c:pt idx="80">
                  <c:v>358.77902039546524</c:v>
                </c:pt>
                <c:pt idx="81">
                  <c:v>364.45779048268776</c:v>
                </c:pt>
                <c:pt idx="82">
                  <c:v>370.11557969845614</c:v>
                </c:pt>
                <c:pt idx="83">
                  <c:v>375.7460847620091</c:v>
                </c:pt>
                <c:pt idx="84">
                  <c:v>381.34318200236561</c:v>
                </c:pt>
                <c:pt idx="85">
                  <c:v>386.90095658378885</c:v>
                </c:pt>
                <c:pt idx="86">
                  <c:v>392.41373015719336</c:v>
                </c:pt>
                <c:pt idx="87">
                  <c:v>397.87608503867165</c:v>
                </c:pt>
                <c:pt idx="88">
                  <c:v>403.28288621952402</c:v>
                </c:pt>
                <c:pt idx="89">
                  <c:v>408.62930055109939</c:v>
                </c:pt>
                <c:pt idx="90">
                  <c:v>413.91081308796544</c:v>
                </c:pt>
                <c:pt idx="91">
                  <c:v>419.12324041357073</c:v>
                </c:pt>
                <c:pt idx="92">
                  <c:v>424.26274091389507</c:v>
                </c:pt>
                <c:pt idx="93">
                  <c:v>429.32582215091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51.85137045885949</c:v>
                </c:pt>
                <c:pt idx="32">
                  <c:v>154.59030339484954</c:v>
                </c:pt>
                <c:pt idx="33">
                  <c:v>157.21992384583106</c:v>
                </c:pt>
                <c:pt idx="34">
                  <c:v>159.8169703381547</c:v>
                </c:pt>
                <c:pt idx="35">
                  <c:v>162.43692245461907</c:v>
                </c:pt>
                <c:pt idx="36">
                  <c:v>165.11628768018892</c:v>
                </c:pt>
                <c:pt idx="37">
                  <c:v>167.87760426245072</c:v>
                </c:pt>
                <c:pt idx="38">
                  <c:v>170.73802656042233</c:v>
                </c:pt>
                <c:pt idx="39">
                  <c:v>173.71226546076193</c:v>
                </c:pt>
                <c:pt idx="40">
                  <c:v>176.81364804285781</c:v>
                </c:pt>
                <c:pt idx="41">
                  <c:v>180.05437804845462</c:v>
                </c:pt>
                <c:pt idx="42">
                  <c:v>183.44543744890248</c:v>
                </c:pt>
                <c:pt idx="43">
                  <c:v>186.9958985365397</c:v>
                </c:pt>
                <c:pt idx="44">
                  <c:v>190.71373119364546</c:v>
                </c:pt>
                <c:pt idx="45">
                  <c:v>194.60590982059367</c:v>
                </c:pt>
                <c:pt idx="46">
                  <c:v>198.67843848306353</c:v>
                </c:pt>
                <c:pt idx="47">
                  <c:v>202.93663817041539</c:v>
                </c:pt>
                <c:pt idx="48">
                  <c:v>207.38517819254957</c:v>
                </c:pt>
                <c:pt idx="49">
                  <c:v>212.02808591432756</c:v>
                </c:pt>
                <c:pt idx="50">
                  <c:v>216.86895767305791</c:v>
                </c:pt>
                <c:pt idx="51">
                  <c:v>221.91061076461523</c:v>
                </c:pt>
                <c:pt idx="52">
                  <c:v>227.155229185601</c:v>
                </c:pt>
                <c:pt idx="53">
                  <c:v>232.60434867548588</c:v>
                </c:pt>
                <c:pt idx="54">
                  <c:v>238.25887150236693</c:v>
                </c:pt>
                <c:pt idx="55">
                  <c:v>244.11905306637433</c:v>
                </c:pt>
                <c:pt idx="56">
                  <c:v>250.18446652821618</c:v>
                </c:pt>
                <c:pt idx="57">
                  <c:v>256.45399094394696</c:v>
                </c:pt>
                <c:pt idx="58">
                  <c:v>262.92568081074671</c:v>
                </c:pt>
                <c:pt idx="59">
                  <c:v>269.5967636611324</c:v>
                </c:pt>
                <c:pt idx="60">
                  <c:v>276.4637270690103</c:v>
                </c:pt>
                <c:pt idx="61">
                  <c:v>283.52220417170622</c:v>
                </c:pt>
                <c:pt idx="62">
                  <c:v>290.76689585037627</c:v>
                </c:pt>
                <c:pt idx="63">
                  <c:v>298.19167464204725</c:v>
                </c:pt>
                <c:pt idx="64">
                  <c:v>305.78954513748613</c:v>
                </c:pt>
                <c:pt idx="65">
                  <c:v>313.55257474476514</c:v>
                </c:pt>
                <c:pt idx="66">
                  <c:v>321.47194495755326</c:v>
                </c:pt>
                <c:pt idx="67">
                  <c:v>329.53799195634917</c:v>
                </c:pt>
                <c:pt idx="68">
                  <c:v>337.7402476106771</c:v>
                </c:pt>
                <c:pt idx="69">
                  <c:v>346.06748561250856</c:v>
                </c:pt>
                <c:pt idx="70">
                  <c:v>354.50819513083172</c:v>
                </c:pt>
                <c:pt idx="71">
                  <c:v>363.05054170667756</c:v>
                </c:pt>
                <c:pt idx="72">
                  <c:v>371.68232172560533</c:v>
                </c:pt>
                <c:pt idx="73">
                  <c:v>380.39097635817654</c:v>
                </c:pt>
                <c:pt idx="74">
                  <c:v>389.16363782723397</c:v>
                </c:pt>
                <c:pt idx="75">
                  <c:v>397.98719246975173</c:v>
                </c:pt>
                <c:pt idx="76">
                  <c:v>406.84835075097192</c:v>
                </c:pt>
                <c:pt idx="77">
                  <c:v>415.73371825374772</c:v>
                </c:pt>
                <c:pt idx="78">
                  <c:v>424.62986552784787</c:v>
                </c:pt>
                <c:pt idx="79">
                  <c:v>433.52339266831763</c:v>
                </c:pt>
                <c:pt idx="80">
                  <c:v>442.40099781429285</c:v>
                </c:pt>
                <c:pt idx="81">
                  <c:v>451.24954503787103</c:v>
                </c:pt>
                <c:pt idx="82">
                  <c:v>460.05613051854095</c:v>
                </c:pt>
                <c:pt idx="83">
                  <c:v>468.80814769478002</c:v>
                </c:pt>
                <c:pt idx="84">
                  <c:v>477.49334922462674</c:v>
                </c:pt>
                <c:pt idx="85">
                  <c:v>486.09990543660587</c:v>
                </c:pt>
                <c:pt idx="86">
                  <c:v>494.61645963254853</c:v>
                </c:pt>
                <c:pt idx="87">
                  <c:v>503.03217644463797</c:v>
                </c:pt>
                <c:pt idx="88">
                  <c:v>511.33678585547557</c:v>
                </c:pt>
                <c:pt idx="89">
                  <c:v>519.52062156775946</c:v>
                </c:pt>
                <c:pt idx="90">
                  <c:v>527.5746536906247</c:v>
                </c:pt>
                <c:pt idx="91">
                  <c:v>535.49051539096843</c:v>
                </c:pt>
                <c:pt idx="92">
                  <c:v>543.26052344075026</c:v>
                </c:pt>
                <c:pt idx="93">
                  <c:v>550.877692963919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135</c:v>
                </c:pt>
                <c:pt idx="1">
                  <c:v>141</c:v>
                </c:pt>
                <c:pt idx="2">
                  <c:v>139</c:v>
                </c:pt>
                <c:pt idx="3">
                  <c:v>137</c:v>
                </c:pt>
                <c:pt idx="4">
                  <c:v>138</c:v>
                </c:pt>
                <c:pt idx="5">
                  <c:v>138</c:v>
                </c:pt>
                <c:pt idx="6">
                  <c:v>138</c:v>
                </c:pt>
                <c:pt idx="7">
                  <c:v>135</c:v>
                </c:pt>
                <c:pt idx="8">
                  <c:v>138</c:v>
                </c:pt>
                <c:pt idx="9">
                  <c:v>124</c:v>
                </c:pt>
                <c:pt idx="10">
                  <c:v>129</c:v>
                </c:pt>
                <c:pt idx="11">
                  <c:v>132</c:v>
                </c:pt>
                <c:pt idx="12">
                  <c:v>141</c:v>
                </c:pt>
                <c:pt idx="13">
                  <c:v>138</c:v>
                </c:pt>
                <c:pt idx="14">
                  <c:v>122</c:v>
                </c:pt>
                <c:pt idx="15">
                  <c:v>109</c:v>
                </c:pt>
                <c:pt idx="16">
                  <c:v>112</c:v>
                </c:pt>
                <c:pt idx="17">
                  <c:v>78</c:v>
                </c:pt>
                <c:pt idx="18">
                  <c:v>84</c:v>
                </c:pt>
                <c:pt idx="19">
                  <c:v>122</c:v>
                </c:pt>
                <c:pt idx="20">
                  <c:v>126</c:v>
                </c:pt>
                <c:pt idx="21">
                  <c:v>116</c:v>
                </c:pt>
                <c:pt idx="22">
                  <c:v>105</c:v>
                </c:pt>
                <c:pt idx="23">
                  <c:v>99</c:v>
                </c:pt>
                <c:pt idx="24">
                  <c:v>91</c:v>
                </c:pt>
                <c:pt idx="25">
                  <c:v>97</c:v>
                </c:pt>
                <c:pt idx="26">
                  <c:v>103</c:v>
                </c:pt>
                <c:pt idx="27">
                  <c:v>97</c:v>
                </c:pt>
                <c:pt idx="28">
                  <c:v>92</c:v>
                </c:pt>
                <c:pt idx="29">
                  <c:v>93</c:v>
                </c:pt>
                <c:pt idx="30">
                  <c:v>80</c:v>
                </c:pt>
                <c:pt idx="31">
                  <c:v>82</c:v>
                </c:pt>
                <c:pt idx="32">
                  <c:v>81</c:v>
                </c:pt>
                <c:pt idx="33">
                  <c:v>81</c:v>
                </c:pt>
                <c:pt idx="34">
                  <c:v>81</c:v>
                </c:pt>
                <c:pt idx="35">
                  <c:v>78</c:v>
                </c:pt>
                <c:pt idx="36">
                  <c:v>75</c:v>
                </c:pt>
                <c:pt idx="37">
                  <c:v>72</c:v>
                </c:pt>
                <c:pt idx="38">
                  <c:v>65</c:v>
                </c:pt>
                <c:pt idx="39">
                  <c:v>65</c:v>
                </c:pt>
                <c:pt idx="40">
                  <c:v>68</c:v>
                </c:pt>
                <c:pt idx="41">
                  <c:v>61</c:v>
                </c:pt>
                <c:pt idx="42">
                  <c:v>44</c:v>
                </c:pt>
                <c:pt idx="43">
                  <c:v>37</c:v>
                </c:pt>
                <c:pt idx="44">
                  <c:v>36</c:v>
                </c:pt>
                <c:pt idx="45">
                  <c:v>38</c:v>
                </c:pt>
                <c:pt idx="46">
                  <c:v>43</c:v>
                </c:pt>
                <c:pt idx="47">
                  <c:v>48</c:v>
                </c:pt>
                <c:pt idx="48">
                  <c:v>45</c:v>
                </c:pt>
                <c:pt idx="49">
                  <c:v>41</c:v>
                </c:pt>
                <c:pt idx="50">
                  <c:v>35</c:v>
                </c:pt>
                <c:pt idx="51">
                  <c:v>45</c:v>
                </c:pt>
                <c:pt idx="52">
                  <c:v>53</c:v>
                </c:pt>
                <c:pt idx="53">
                  <c:v>59</c:v>
                </c:pt>
                <c:pt idx="54">
                  <c:v>59</c:v>
                </c:pt>
                <c:pt idx="55">
                  <c:v>62</c:v>
                </c:pt>
                <c:pt idx="56">
                  <c:v>56</c:v>
                </c:pt>
                <c:pt idx="57">
                  <c:v>61</c:v>
                </c:pt>
                <c:pt idx="58">
                  <c:v>61</c:v>
                </c:pt>
                <c:pt idx="59">
                  <c:v>61</c:v>
                </c:pt>
                <c:pt idx="60">
                  <c:v>74</c:v>
                </c:pt>
                <c:pt idx="61">
                  <c:v>80</c:v>
                </c:pt>
                <c:pt idx="62">
                  <c:v>78</c:v>
                </c:pt>
                <c:pt idx="63">
                  <c:v>77</c:v>
                </c:pt>
                <c:pt idx="64">
                  <c:v>64</c:v>
                </c:pt>
                <c:pt idx="65">
                  <c:v>57</c:v>
                </c:pt>
                <c:pt idx="66">
                  <c:v>69</c:v>
                </c:pt>
                <c:pt idx="67">
                  <c:v>80</c:v>
                </c:pt>
                <c:pt idx="68">
                  <c:v>77</c:v>
                </c:pt>
                <c:pt idx="69">
                  <c:v>81</c:v>
                </c:pt>
                <c:pt idx="70">
                  <c:v>88</c:v>
                </c:pt>
                <c:pt idx="71">
                  <c:v>81</c:v>
                </c:pt>
                <c:pt idx="72">
                  <c:v>88</c:v>
                </c:pt>
                <c:pt idx="73">
                  <c:v>84</c:v>
                </c:pt>
                <c:pt idx="74">
                  <c:v>83</c:v>
                </c:pt>
                <c:pt idx="75">
                  <c:v>76</c:v>
                </c:pt>
                <c:pt idx="76">
                  <c:v>73</c:v>
                </c:pt>
                <c:pt idx="77">
                  <c:v>68</c:v>
                </c:pt>
                <c:pt idx="78">
                  <c:v>52</c:v>
                </c:pt>
                <c:pt idx="79">
                  <c:v>50</c:v>
                </c:pt>
                <c:pt idx="80">
                  <c:v>59</c:v>
                </c:pt>
                <c:pt idx="81">
                  <c:v>63</c:v>
                </c:pt>
                <c:pt idx="82">
                  <c:v>62</c:v>
                </c:pt>
                <c:pt idx="83">
                  <c:v>64</c:v>
                </c:pt>
                <c:pt idx="84">
                  <c:v>64</c:v>
                </c:pt>
                <c:pt idx="85">
                  <c:v>62</c:v>
                </c:pt>
                <c:pt idx="86">
                  <c:v>53</c:v>
                </c:pt>
                <c:pt idx="87">
                  <c:v>53</c:v>
                </c:pt>
                <c:pt idx="88">
                  <c:v>50</c:v>
                </c:pt>
                <c:pt idx="89">
                  <c:v>43</c:v>
                </c:pt>
                <c:pt idx="90">
                  <c:v>44</c:v>
                </c:pt>
                <c:pt idx="91">
                  <c:v>38</c:v>
                </c:pt>
                <c:pt idx="92">
                  <c:v>27</c:v>
                </c:pt>
                <c:pt idx="9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6.221476920555389</c:v>
                </c:pt>
                <c:pt idx="32">
                  <c:v>73.554510646464692</c:v>
                </c:pt>
                <c:pt idx="33">
                  <c:v>70.936981509140949</c:v>
                </c:pt>
                <c:pt idx="34">
                  <c:v>68.371099953098053</c:v>
                </c:pt>
                <c:pt idx="35">
                  <c:v>65.858748680671553</c:v>
                </c:pt>
                <c:pt idx="36">
                  <c:v>63.473009596761315</c:v>
                </c:pt>
                <c:pt idx="37">
                  <c:v>61.138496177032941</c:v>
                </c:pt>
                <c:pt idx="38">
                  <c:v>58.856502370668466</c:v>
                </c:pt>
                <c:pt idx="39">
                  <c:v>56.628102722367949</c:v>
                </c:pt>
                <c:pt idx="40">
                  <c:v>54.454227843036605</c:v>
                </c:pt>
                <c:pt idx="41">
                  <c:v>52.377628578800987</c:v>
                </c:pt>
                <c:pt idx="42">
                  <c:v>50.427231204736593</c:v>
                </c:pt>
                <c:pt idx="43">
                  <c:v>48.616730471209557</c:v>
                </c:pt>
                <c:pt idx="44">
                  <c:v>46.950525852539684</c:v>
                </c:pt>
                <c:pt idx="45">
                  <c:v>45.427868924544839</c:v>
                </c:pt>
                <c:pt idx="46">
                  <c:v>44.045192825087923</c:v>
                </c:pt>
                <c:pt idx="47">
                  <c:v>42.797338325497037</c:v>
                </c:pt>
                <c:pt idx="48">
                  <c:v>41.677779308450134</c:v>
                </c:pt>
                <c:pt idx="49">
                  <c:v>40.678918728597438</c:v>
                </c:pt>
                <c:pt idx="50">
                  <c:v>39.792134888620282</c:v>
                </c:pt>
                <c:pt idx="51">
                  <c:v>39.008595898432937</c:v>
                </c:pt>
                <c:pt idx="52">
                  <c:v>38.31915400261488</c:v>
                </c:pt>
                <c:pt idx="53">
                  <c:v>37.714803059873965</c:v>
                </c:pt>
                <c:pt idx="54">
                  <c:v>37.186966585128658</c:v>
                </c:pt>
                <c:pt idx="55">
                  <c:v>36.726589055560922</c:v>
                </c:pt>
                <c:pt idx="56">
                  <c:v>36.322989970467603</c:v>
                </c:pt>
                <c:pt idx="57">
                  <c:v>35.965559530518121</c:v>
                </c:pt>
                <c:pt idx="58">
                  <c:v>35.645113358078021</c:v>
                </c:pt>
                <c:pt idx="59">
                  <c:v>35.353923887850428</c:v>
                </c:pt>
                <c:pt idx="60">
                  <c:v>35.085443882176484</c:v>
                </c:pt>
                <c:pt idx="61">
                  <c:v>34.834113711971725</c:v>
                </c:pt>
                <c:pt idx="62">
                  <c:v>34.595140514658176</c:v>
                </c:pt>
                <c:pt idx="63">
                  <c:v>34.364108686864604</c:v>
                </c:pt>
                <c:pt idx="64">
                  <c:v>34.13716700858518</c:v>
                </c:pt>
                <c:pt idx="65">
                  <c:v>33.91117950078791</c:v>
                </c:pt>
                <c:pt idx="66">
                  <c:v>33.683566926688705</c:v>
                </c:pt>
                <c:pt idx="67">
                  <c:v>33.452354652066965</c:v>
                </c:pt>
                <c:pt idx="68">
                  <c:v>33.216039344109696</c:v>
                </c:pt>
                <c:pt idx="69">
                  <c:v>32.973485243841061</c:v>
                </c:pt>
                <c:pt idx="70">
                  <c:v>32.72391673622851</c:v>
                </c:pt>
                <c:pt idx="71">
                  <c:v>32.466846574175747</c:v>
                </c:pt>
                <c:pt idx="72">
                  <c:v>32.202021590232476</c:v>
                </c:pt>
                <c:pt idx="73">
                  <c:v>31.929344348652613</c:v>
                </c:pt>
                <c:pt idx="74">
                  <c:v>31.648864052022272</c:v>
                </c:pt>
                <c:pt idx="75">
                  <c:v>31.360795741003429</c:v>
                </c:pt>
                <c:pt idx="76">
                  <c:v>31.065472623269077</c:v>
                </c:pt>
                <c:pt idx="77">
                  <c:v>30.763289069587216</c:v>
                </c:pt>
                <c:pt idx="78">
                  <c:v>30.454630643826412</c:v>
                </c:pt>
                <c:pt idx="79">
                  <c:v>30.139889122563304</c:v>
                </c:pt>
                <c:pt idx="80">
                  <c:v>29.819443388883048</c:v>
                </c:pt>
                <c:pt idx="81">
                  <c:v>29.493726560368174</c:v>
                </c:pt>
                <c:pt idx="82">
                  <c:v>29.163206381978743</c:v>
                </c:pt>
                <c:pt idx="83">
                  <c:v>28.828347978234518</c:v>
                </c:pt>
                <c:pt idx="84">
                  <c:v>28.489618282004017</c:v>
                </c:pt>
                <c:pt idx="85">
                  <c:v>28.147471324379719</c:v>
                </c:pt>
                <c:pt idx="86">
                  <c:v>27.80234186720233</c:v>
                </c:pt>
                <c:pt idx="87">
                  <c:v>27.454644937573757</c:v>
                </c:pt>
                <c:pt idx="88">
                  <c:v>27.104775730163098</c:v>
                </c:pt>
                <c:pt idx="89">
                  <c:v>26.753093643991097</c:v>
                </c:pt>
                <c:pt idx="90">
                  <c:v>26.399941648608092</c:v>
                </c:pt>
                <c:pt idx="91">
                  <c:v>26.045647873874056</c:v>
                </c:pt>
                <c:pt idx="92">
                  <c:v>25.690522974811167</c:v>
                </c:pt>
                <c:pt idx="93">
                  <c:v>25.334858890073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6.221476920555389</c:v>
                </c:pt>
                <c:pt idx="32">
                  <c:v>73.554510646464692</c:v>
                </c:pt>
                <c:pt idx="33">
                  <c:v>70.936981509140949</c:v>
                </c:pt>
                <c:pt idx="34">
                  <c:v>68.514463026538238</c:v>
                </c:pt>
                <c:pt idx="35">
                  <c:v>66.385257632193529</c:v>
                </c:pt>
                <c:pt idx="36">
                  <c:v>64.672617703139053</c:v>
                </c:pt>
                <c:pt idx="37">
                  <c:v>62.959977774084571</c:v>
                </c:pt>
                <c:pt idx="38">
                  <c:v>62.473280692617095</c:v>
                </c:pt>
                <c:pt idx="39">
                  <c:v>62.175964783743922</c:v>
                </c:pt>
                <c:pt idx="40">
                  <c:v>62.067872552379896</c:v>
                </c:pt>
                <c:pt idx="41">
                  <c:v>62.146831569865341</c:v>
                </c:pt>
                <c:pt idx="42">
                  <c:v>62.408912364931311</c:v>
                </c:pt>
                <c:pt idx="43">
                  <c:v>62.848333635867583</c:v>
                </c:pt>
                <c:pt idx="44">
                  <c:v>63.458668483528577</c:v>
                </c:pt>
                <c:pt idx="45">
                  <c:v>64.232494732251212</c:v>
                </c:pt>
                <c:pt idx="46">
                  <c:v>65.162065281322441</c:v>
                </c:pt>
                <c:pt idx="47">
                  <c:v>66.239705614843047</c:v>
                </c:pt>
                <c:pt idx="48">
                  <c:v>67.456192403032873</c:v>
                </c:pt>
                <c:pt idx="49">
                  <c:v>68.798722222740082</c:v>
                </c:pt>
                <c:pt idx="50">
                  <c:v>70.253747660664146</c:v>
                </c:pt>
                <c:pt idx="51">
                  <c:v>71.809173818017882</c:v>
                </c:pt>
                <c:pt idx="52">
                  <c:v>73.454322213815885</c:v>
                </c:pt>
                <c:pt idx="53">
                  <c:v>75.179455254664944</c:v>
                </c:pt>
                <c:pt idx="54">
                  <c:v>76.975491357295766</c:v>
                </c:pt>
                <c:pt idx="55">
                  <c:v>78.833683232376828</c:v>
                </c:pt>
                <c:pt idx="56">
                  <c:v>80.745007963885328</c:v>
                </c:pt>
                <c:pt idx="57">
                  <c:v>82.700531251832388</c:v>
                </c:pt>
                <c:pt idx="58">
                  <c:v>84.69170267085704</c:v>
                </c:pt>
                <c:pt idx="59">
                  <c:v>86.710116974843686</c:v>
                </c:pt>
                <c:pt idx="60">
                  <c:v>88.747653706704881</c:v>
                </c:pt>
                <c:pt idx="61">
                  <c:v>90.796307413832366</c:v>
                </c:pt>
                <c:pt idx="62">
                  <c:v>92.848072990275128</c:v>
                </c:pt>
                <c:pt idx="63">
                  <c:v>94.894790721576015</c:v>
                </c:pt>
                <c:pt idx="64">
                  <c:v>96.928147813509824</c:v>
                </c:pt>
                <c:pt idx="65">
                  <c:v>98.939730164084565</c:v>
                </c:pt>
                <c:pt idx="66">
                  <c:v>100.92099166529191</c:v>
                </c:pt>
                <c:pt idx="67">
                  <c:v>102.86332976986856</c:v>
                </c:pt>
                <c:pt idx="68">
                  <c:v>104.75820522490686</c:v>
                </c:pt>
                <c:pt idx="69">
                  <c:v>106.59714489389732</c:v>
                </c:pt>
                <c:pt idx="70">
                  <c:v>108.37214508583546</c:v>
                </c:pt>
                <c:pt idx="71">
                  <c:v>110.07552691287657</c:v>
                </c:pt>
                <c:pt idx="72">
                  <c:v>111.69992818169068</c:v>
                </c:pt>
                <c:pt idx="73">
                  <c:v>113.23827858373446</c:v>
                </c:pt>
                <c:pt idx="74">
                  <c:v>114.68395510291582</c:v>
                </c:pt>
                <c:pt idx="75">
                  <c:v>116.03079660466905</c:v>
                </c:pt>
                <c:pt idx="76">
                  <c:v>117.27309460351006</c:v>
                </c:pt>
                <c:pt idx="77">
                  <c:v>118.40565093922561</c:v>
                </c:pt>
                <c:pt idx="78">
                  <c:v>119.423803421413</c:v>
                </c:pt>
                <c:pt idx="79">
                  <c:v>120.32345067859713</c:v>
                </c:pt>
                <c:pt idx="80">
                  <c:v>121.10108159744473</c:v>
                </c:pt>
                <c:pt idx="81">
                  <c:v>121.75379707229102</c:v>
                </c:pt>
                <c:pt idx="82">
                  <c:v>122.2793042172253</c:v>
                </c:pt>
                <c:pt idx="83">
                  <c:v>122.67596401957519</c:v>
                </c:pt>
                <c:pt idx="84">
                  <c:v>122.94279445334836</c:v>
                </c:pt>
                <c:pt idx="85">
                  <c:v>123.07945100296831</c:v>
                </c:pt>
                <c:pt idx="86">
                  <c:v>123.08621669941644</c:v>
                </c:pt>
                <c:pt idx="87">
                  <c:v>122.96400050772084</c:v>
                </c:pt>
                <c:pt idx="88">
                  <c:v>122.71432905897251</c:v>
                </c:pt>
                <c:pt idx="89">
                  <c:v>122.33933189950824</c:v>
                </c:pt>
                <c:pt idx="90">
                  <c:v>121.84171983292774</c:v>
                </c:pt>
                <c:pt idx="91">
                  <c:v>121.2247569768237</c:v>
                </c:pt>
                <c:pt idx="92">
                  <c:v>120.49222339600198</c:v>
                </c:pt>
                <c:pt idx="93">
                  <c:v>119.648376689658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6.221476920555389</c:v>
                </c:pt>
                <c:pt idx="32">
                  <c:v>73.554510646464692</c:v>
                </c:pt>
                <c:pt idx="33">
                  <c:v>70.936981509140949</c:v>
                </c:pt>
                <c:pt idx="34">
                  <c:v>68.514463026538238</c:v>
                </c:pt>
                <c:pt idx="35">
                  <c:v>66.385257632193529</c:v>
                </c:pt>
                <c:pt idx="36">
                  <c:v>64.672617703139053</c:v>
                </c:pt>
                <c:pt idx="37">
                  <c:v>63.324164747778532</c:v>
                </c:pt>
                <c:pt idx="38">
                  <c:v>62.350770584843566</c:v>
                </c:pt>
                <c:pt idx="39">
                  <c:v>61.756138767097205</c:v>
                </c:pt>
                <c:pt idx="40">
                  <c:v>61.539954304369189</c:v>
                </c:pt>
                <c:pt idx="41">
                  <c:v>61.697872339340073</c:v>
                </c:pt>
                <c:pt idx="42">
                  <c:v>62.222033929472026</c:v>
                </c:pt>
                <c:pt idx="43">
                  <c:v>63.100876471344563</c:v>
                </c:pt>
                <c:pt idx="44">
                  <c:v>64.321546166666536</c:v>
                </c:pt>
                <c:pt idx="45">
                  <c:v>65.869198664111792</c:v>
                </c:pt>
                <c:pt idx="46">
                  <c:v>67.728339762254265</c:v>
                </c:pt>
                <c:pt idx="47">
                  <c:v>69.883620429295476</c:v>
                </c:pt>
                <c:pt idx="48">
                  <c:v>72.316594005675128</c:v>
                </c:pt>
                <c:pt idx="49">
                  <c:v>75.001653645089547</c:v>
                </c:pt>
                <c:pt idx="50">
                  <c:v>77.911704520937704</c:v>
                </c:pt>
                <c:pt idx="51">
                  <c:v>81.022556835645162</c:v>
                </c:pt>
                <c:pt idx="52">
                  <c:v>84.312853627241125</c:v>
                </c:pt>
                <c:pt idx="53">
                  <c:v>87.763119708939271</c:v>
                </c:pt>
                <c:pt idx="54">
                  <c:v>91.355191914200873</c:v>
                </c:pt>
                <c:pt idx="55">
                  <c:v>95.07157566436301</c:v>
                </c:pt>
                <c:pt idx="56">
                  <c:v>98.894225127380054</c:v>
                </c:pt>
                <c:pt idx="57">
                  <c:v>102.80527170327416</c:v>
                </c:pt>
                <c:pt idx="58">
                  <c:v>106.78761454132346</c:v>
                </c:pt>
                <c:pt idx="59">
                  <c:v>110.82444314929673</c:v>
                </c:pt>
                <c:pt idx="60">
                  <c:v>114.89951661301919</c:v>
                </c:pt>
                <c:pt idx="61">
                  <c:v>118.9968240272741</c:v>
                </c:pt>
                <c:pt idx="62">
                  <c:v>123.10035518015964</c:v>
                </c:pt>
                <c:pt idx="63">
                  <c:v>127.1937906427614</c:v>
                </c:pt>
                <c:pt idx="64">
                  <c:v>131.26050482662899</c:v>
                </c:pt>
                <c:pt idx="65">
                  <c:v>135.2836695277785</c:v>
                </c:pt>
                <c:pt idx="66">
                  <c:v>139.24619253019318</c:v>
                </c:pt>
                <c:pt idx="67">
                  <c:v>143.13086873934648</c:v>
                </c:pt>
                <c:pt idx="68">
                  <c:v>146.92061964942303</c:v>
                </c:pt>
                <c:pt idx="69">
                  <c:v>150.59849898740401</c:v>
                </c:pt>
                <c:pt idx="70">
                  <c:v>154.14849937128022</c:v>
                </c:pt>
                <c:pt idx="71">
                  <c:v>157.55526302536251</c:v>
                </c:pt>
                <c:pt idx="72">
                  <c:v>160.80406556299079</c:v>
                </c:pt>
                <c:pt idx="73">
                  <c:v>163.88076636707831</c:v>
                </c:pt>
                <c:pt idx="74">
                  <c:v>166.77211940544106</c:v>
                </c:pt>
                <c:pt idx="75">
                  <c:v>169.46580240894744</c:v>
                </c:pt>
                <c:pt idx="76">
                  <c:v>171.95039840662952</c:v>
                </c:pt>
                <c:pt idx="77">
                  <c:v>174.21551107806053</c:v>
                </c:pt>
                <c:pt idx="78">
                  <c:v>176.25181604243537</c:v>
                </c:pt>
                <c:pt idx="79">
                  <c:v>178.05111055680356</c:v>
                </c:pt>
                <c:pt idx="80">
                  <c:v>179.60637239449883</c:v>
                </c:pt>
                <c:pt idx="81">
                  <c:v>180.91180334419141</c:v>
                </c:pt>
                <c:pt idx="82">
                  <c:v>181.96281763406003</c:v>
                </c:pt>
                <c:pt idx="83">
                  <c:v>182.75613723875978</c:v>
                </c:pt>
                <c:pt idx="84">
                  <c:v>183.28979810630602</c:v>
                </c:pt>
                <c:pt idx="85">
                  <c:v>183.56311120554602</c:v>
                </c:pt>
                <c:pt idx="86">
                  <c:v>183.57664259844222</c:v>
                </c:pt>
                <c:pt idx="87">
                  <c:v>183.33221021505102</c:v>
                </c:pt>
                <c:pt idx="88">
                  <c:v>182.83286731755439</c:v>
                </c:pt>
                <c:pt idx="89">
                  <c:v>182.08287299862582</c:v>
                </c:pt>
                <c:pt idx="90">
                  <c:v>181.0876488654649</c:v>
                </c:pt>
                <c:pt idx="91">
                  <c:v>179.85372315325674</c:v>
                </c:pt>
                <c:pt idx="92">
                  <c:v>178.38865599161326</c:v>
                </c:pt>
                <c:pt idx="93">
                  <c:v>176.700962578925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15</c:v>
                </c:pt>
                <c:pt idx="1">
                  <c:v>18</c:v>
                </c:pt>
                <c:pt idx="2">
                  <c:v>27</c:v>
                </c:pt>
                <c:pt idx="3">
                  <c:v>33</c:v>
                </c:pt>
                <c:pt idx="4">
                  <c:v>35</c:v>
                </c:pt>
                <c:pt idx="5">
                  <c:v>39</c:v>
                </c:pt>
                <c:pt idx="6">
                  <c:v>47</c:v>
                </c:pt>
                <c:pt idx="7">
                  <c:v>56</c:v>
                </c:pt>
                <c:pt idx="8">
                  <c:v>62</c:v>
                </c:pt>
                <c:pt idx="9">
                  <c:v>67</c:v>
                </c:pt>
                <c:pt idx="10">
                  <c:v>71</c:v>
                </c:pt>
                <c:pt idx="11">
                  <c:v>72</c:v>
                </c:pt>
                <c:pt idx="12">
                  <c:v>78</c:v>
                </c:pt>
                <c:pt idx="13">
                  <c:v>83</c:v>
                </c:pt>
                <c:pt idx="14">
                  <c:v>86</c:v>
                </c:pt>
                <c:pt idx="15">
                  <c:v>90</c:v>
                </c:pt>
                <c:pt idx="16">
                  <c:v>96</c:v>
                </c:pt>
                <c:pt idx="17">
                  <c:v>100</c:v>
                </c:pt>
                <c:pt idx="18">
                  <c:v>101</c:v>
                </c:pt>
                <c:pt idx="19">
                  <c:v>103</c:v>
                </c:pt>
                <c:pt idx="20">
                  <c:v>106</c:v>
                </c:pt>
                <c:pt idx="21">
                  <c:v>109</c:v>
                </c:pt>
                <c:pt idx="22">
                  <c:v>113</c:v>
                </c:pt>
                <c:pt idx="23">
                  <c:v>116</c:v>
                </c:pt>
                <c:pt idx="24">
                  <c:v>120</c:v>
                </c:pt>
                <c:pt idx="25">
                  <c:v>124</c:v>
                </c:pt>
                <c:pt idx="26">
                  <c:v>125</c:v>
                </c:pt>
                <c:pt idx="27">
                  <c:v>129</c:v>
                </c:pt>
                <c:pt idx="28">
                  <c:v>131</c:v>
                </c:pt>
                <c:pt idx="29">
                  <c:v>134</c:v>
                </c:pt>
                <c:pt idx="30">
                  <c:v>137</c:v>
                </c:pt>
                <c:pt idx="31">
                  <c:v>140</c:v>
                </c:pt>
                <c:pt idx="32">
                  <c:v>145</c:v>
                </c:pt>
                <c:pt idx="33">
                  <c:v>147</c:v>
                </c:pt>
                <c:pt idx="34">
                  <c:v>148</c:v>
                </c:pt>
                <c:pt idx="35">
                  <c:v>149</c:v>
                </c:pt>
                <c:pt idx="36">
                  <c:v>150</c:v>
                </c:pt>
                <c:pt idx="37">
                  <c:v>155</c:v>
                </c:pt>
                <c:pt idx="38">
                  <c:v>157</c:v>
                </c:pt>
                <c:pt idx="39">
                  <c:v>159</c:v>
                </c:pt>
                <c:pt idx="40">
                  <c:v>163</c:v>
                </c:pt>
                <c:pt idx="41">
                  <c:v>166</c:v>
                </c:pt>
                <c:pt idx="42">
                  <c:v>167</c:v>
                </c:pt>
                <c:pt idx="43">
                  <c:v>167</c:v>
                </c:pt>
                <c:pt idx="44">
                  <c:v>168</c:v>
                </c:pt>
                <c:pt idx="45">
                  <c:v>169</c:v>
                </c:pt>
                <c:pt idx="46">
                  <c:v>170</c:v>
                </c:pt>
                <c:pt idx="47">
                  <c:v>171</c:v>
                </c:pt>
                <c:pt idx="48">
                  <c:v>171</c:v>
                </c:pt>
                <c:pt idx="49">
                  <c:v>173</c:v>
                </c:pt>
                <c:pt idx="50">
                  <c:v>176</c:v>
                </c:pt>
                <c:pt idx="51">
                  <c:v>176</c:v>
                </c:pt>
                <c:pt idx="52">
                  <c:v>176</c:v>
                </c:pt>
                <c:pt idx="53">
                  <c:v>180</c:v>
                </c:pt>
                <c:pt idx="54">
                  <c:v>182</c:v>
                </c:pt>
                <c:pt idx="55">
                  <c:v>184</c:v>
                </c:pt>
                <c:pt idx="56">
                  <c:v>187</c:v>
                </c:pt>
                <c:pt idx="57">
                  <c:v>190</c:v>
                </c:pt>
                <c:pt idx="58">
                  <c:v>191</c:v>
                </c:pt>
                <c:pt idx="59">
                  <c:v>196</c:v>
                </c:pt>
                <c:pt idx="60">
                  <c:v>199</c:v>
                </c:pt>
                <c:pt idx="61">
                  <c:v>199</c:v>
                </c:pt>
                <c:pt idx="62">
                  <c:v>200</c:v>
                </c:pt>
                <c:pt idx="63">
                  <c:v>204</c:v>
                </c:pt>
                <c:pt idx="64">
                  <c:v>207</c:v>
                </c:pt>
                <c:pt idx="65">
                  <c:v>210</c:v>
                </c:pt>
                <c:pt idx="66">
                  <c:v>213</c:v>
                </c:pt>
                <c:pt idx="67">
                  <c:v>214</c:v>
                </c:pt>
                <c:pt idx="68">
                  <c:v>217</c:v>
                </c:pt>
                <c:pt idx="69">
                  <c:v>220</c:v>
                </c:pt>
                <c:pt idx="70">
                  <c:v>224</c:v>
                </c:pt>
                <c:pt idx="71">
                  <c:v>228</c:v>
                </c:pt>
                <c:pt idx="72">
                  <c:v>231</c:v>
                </c:pt>
                <c:pt idx="73">
                  <c:v>233</c:v>
                </c:pt>
                <c:pt idx="74">
                  <c:v>234</c:v>
                </c:pt>
                <c:pt idx="75">
                  <c:v>238</c:v>
                </c:pt>
                <c:pt idx="76">
                  <c:v>242</c:v>
                </c:pt>
                <c:pt idx="77">
                  <c:v>244</c:v>
                </c:pt>
                <c:pt idx="78">
                  <c:v>246</c:v>
                </c:pt>
                <c:pt idx="79">
                  <c:v>250</c:v>
                </c:pt>
                <c:pt idx="80">
                  <c:v>255</c:v>
                </c:pt>
                <c:pt idx="81">
                  <c:v>255</c:v>
                </c:pt>
                <c:pt idx="82">
                  <c:v>260</c:v>
                </c:pt>
                <c:pt idx="83">
                  <c:v>265</c:v>
                </c:pt>
                <c:pt idx="84">
                  <c:v>268</c:v>
                </c:pt>
                <c:pt idx="85">
                  <c:v>270</c:v>
                </c:pt>
                <c:pt idx="86">
                  <c:v>271</c:v>
                </c:pt>
                <c:pt idx="87">
                  <c:v>273</c:v>
                </c:pt>
                <c:pt idx="88">
                  <c:v>273</c:v>
                </c:pt>
                <c:pt idx="89">
                  <c:v>275</c:v>
                </c:pt>
                <c:pt idx="90">
                  <c:v>276</c:v>
                </c:pt>
                <c:pt idx="91">
                  <c:v>277</c:v>
                </c:pt>
                <c:pt idx="92">
                  <c:v>280</c:v>
                </c:pt>
                <c:pt idx="93">
                  <c:v>2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38.51192159470955</c:v>
                </c:pt>
                <c:pt idx="32">
                  <c:v>140.92479108593886</c:v>
                </c:pt>
                <c:pt idx="33">
                  <c:v>143.24136148323211</c:v>
                </c:pt>
                <c:pt idx="34">
                  <c:v>145.46439494667078</c:v>
                </c:pt>
                <c:pt idx="35">
                  <c:v>147.59665358463295</c:v>
                </c:pt>
                <c:pt idx="36">
                  <c:v>149.64319696147442</c:v>
                </c:pt>
                <c:pt idx="37">
                  <c:v>151.60657928714687</c:v>
                </c:pt>
                <c:pt idx="38">
                  <c:v>153.48934425528276</c:v>
                </c:pt>
                <c:pt idx="39">
                  <c:v>155.29401904986634</c:v>
                </c:pt>
                <c:pt idx="40">
                  <c:v>157.02310897819663</c:v>
                </c:pt>
                <c:pt idx="41">
                  <c:v>158.69810687508703</c:v>
                </c:pt>
                <c:pt idx="42">
                  <c:v>160.33503089320408</c:v>
                </c:pt>
                <c:pt idx="43">
                  <c:v>161.94368630282307</c:v>
                </c:pt>
                <c:pt idx="44">
                  <c:v>163.53036146044633</c:v>
                </c:pt>
                <c:pt idx="45">
                  <c:v>165.09941104164525</c:v>
                </c:pt>
                <c:pt idx="46">
                  <c:v>166.65415294060344</c:v>
                </c:pt>
                <c:pt idx="47">
                  <c:v>168.19725684886058</c:v>
                </c:pt>
                <c:pt idx="48">
                  <c:v>169.73088091353512</c:v>
                </c:pt>
                <c:pt idx="49">
                  <c:v>171.2566946863829</c:v>
                </c:pt>
                <c:pt idx="50">
                  <c:v>172.77573429182382</c:v>
                </c:pt>
                <c:pt idx="51">
                  <c:v>174.2886512423085</c:v>
                </c:pt>
                <c:pt idx="52">
                  <c:v>175.79578018781737</c:v>
                </c:pt>
                <c:pt idx="53">
                  <c:v>177.29718027676446</c:v>
                </c:pt>
                <c:pt idx="54">
                  <c:v>178.79273981882682</c:v>
                </c:pt>
                <c:pt idx="55">
                  <c:v>180.28221150408473</c:v>
                </c:pt>
                <c:pt idx="56">
                  <c:v>181.7652420712771</c:v>
                </c:pt>
                <c:pt idx="57">
                  <c:v>183.24144958667446</c:v>
                </c:pt>
                <c:pt idx="58">
                  <c:v>184.71035303286661</c:v>
                </c:pt>
                <c:pt idx="59">
                  <c:v>186.17142944193105</c:v>
                </c:pt>
                <c:pt idx="60">
                  <c:v>187.62412881833149</c:v>
                </c:pt>
                <c:pt idx="61">
                  <c:v>189.06789541059723</c:v>
                </c:pt>
                <c:pt idx="62">
                  <c:v>190.50217964863052</c:v>
                </c:pt>
                <c:pt idx="63">
                  <c:v>191.92644369678479</c:v>
                </c:pt>
                <c:pt idx="64">
                  <c:v>193.34017256871735</c:v>
                </c:pt>
                <c:pt idx="65">
                  <c:v>194.74285020528089</c:v>
                </c:pt>
                <c:pt idx="66">
                  <c:v>196.13396874777567</c:v>
                </c:pt>
                <c:pt idx="67">
                  <c:v>197.51306016356338</c:v>
                </c:pt>
                <c:pt idx="68">
                  <c:v>198.87967285551497</c:v>
                </c:pt>
                <c:pt idx="69">
                  <c:v>200.23335640661762</c:v>
                </c:pt>
                <c:pt idx="70">
                  <c:v>201.5737457618774</c:v>
                </c:pt>
                <c:pt idx="71">
                  <c:v>202.900539117101</c:v>
                </c:pt>
                <c:pt idx="72">
                  <c:v>204.21346052554688</c:v>
                </c:pt>
                <c:pt idx="73">
                  <c:v>205.51226055408642</c:v>
                </c:pt>
                <c:pt idx="74">
                  <c:v>206.79671639842869</c:v>
                </c:pt>
                <c:pt idx="75">
                  <c:v>208.06663172573627</c:v>
                </c:pt>
                <c:pt idx="76">
                  <c:v>209.32183616629422</c:v>
                </c:pt>
                <c:pt idx="77">
                  <c:v>210.56218417951885</c:v>
                </c:pt>
                <c:pt idx="78">
                  <c:v>211.78755339727326</c:v>
                </c:pt>
                <c:pt idx="79">
                  <c:v>212.99784211616929</c:v>
                </c:pt>
                <c:pt idx="80">
                  <c:v>214.19296743326538</c:v>
                </c:pt>
                <c:pt idx="81">
                  <c:v>215.37286354082019</c:v>
                </c:pt>
                <c:pt idx="82">
                  <c:v>216.53748014506311</c:v>
                </c:pt>
                <c:pt idx="83">
                  <c:v>217.68678118914099</c:v>
                </c:pt>
                <c:pt idx="84">
                  <c:v>218.82074367229129</c:v>
                </c:pt>
                <c:pt idx="85">
                  <c:v>219.93935663434144</c:v>
                </c:pt>
                <c:pt idx="86">
                  <c:v>221.04262040293338</c:v>
                </c:pt>
                <c:pt idx="87">
                  <c:v>222.13054564875281</c:v>
                </c:pt>
                <c:pt idx="88">
                  <c:v>223.20315266573388</c:v>
                </c:pt>
                <c:pt idx="89">
                  <c:v>224.26047072764325</c:v>
                </c:pt>
                <c:pt idx="90">
                  <c:v>225.30253754092294</c:v>
                </c:pt>
                <c:pt idx="91">
                  <c:v>226.32939875149808</c:v>
                </c:pt>
                <c:pt idx="92">
                  <c:v>227.34110750125967</c:v>
                </c:pt>
                <c:pt idx="93">
                  <c:v>228.337724070466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38.51192159470955</c:v>
                </c:pt>
                <c:pt idx="32">
                  <c:v>140.92479108593886</c:v>
                </c:pt>
                <c:pt idx="33">
                  <c:v>143.24136148323211</c:v>
                </c:pt>
                <c:pt idx="34">
                  <c:v>145.49681536037971</c:v>
                </c:pt>
                <c:pt idx="35">
                  <c:v>147.75599354479954</c:v>
                </c:pt>
                <c:pt idx="36">
                  <c:v>150.04134178918261</c:v>
                </c:pt>
                <c:pt idx="37">
                  <c:v>152.36278765496522</c:v>
                </c:pt>
                <c:pt idx="38">
                  <c:v>154.72788722885861</c:v>
                </c:pt>
                <c:pt idx="39">
                  <c:v>157.14312030617575</c:v>
                </c:pt>
                <c:pt idx="40">
                  <c:v>159.61435714807601</c:v>
                </c:pt>
                <c:pt idx="41">
                  <c:v>162.14697321223264</c:v>
                </c:pt>
                <c:pt idx="42">
                  <c:v>164.74580579554984</c:v>
                </c:pt>
                <c:pt idx="43">
                  <c:v>167.41485102679567</c:v>
                </c:pt>
                <c:pt idx="44">
                  <c:v>170.15761944935491</c:v>
                </c:pt>
                <c:pt idx="45">
                  <c:v>172.97718312053524</c:v>
                </c:pt>
                <c:pt idx="46">
                  <c:v>175.87618668831476</c:v>
                </c:pt>
                <c:pt idx="47">
                  <c:v>178.85697392181586</c:v>
                </c:pt>
                <c:pt idx="48">
                  <c:v>181.92160154087586</c:v>
                </c:pt>
                <c:pt idx="49">
                  <c:v>185.07184350382633</c:v>
                </c:pt>
                <c:pt idx="50">
                  <c:v>188.3092839116251</c:v>
                </c:pt>
                <c:pt idx="51">
                  <c:v>191.63516371602634</c:v>
                </c:pt>
                <c:pt idx="52">
                  <c:v>195.05044491553298</c:v>
                </c:pt>
                <c:pt idx="53">
                  <c:v>198.55580396681637</c:v>
                </c:pt>
                <c:pt idx="54">
                  <c:v>202.15163829749116</c:v>
                </c:pt>
                <c:pt idx="55">
                  <c:v>205.83806040523328</c:v>
                </c:pt>
                <c:pt idx="56">
                  <c:v>209.61488227749783</c:v>
                </c:pt>
                <c:pt idx="57">
                  <c:v>213.48161016516593</c:v>
                </c:pt>
                <c:pt idx="58">
                  <c:v>217.4373871205666</c:v>
                </c:pt>
                <c:pt idx="59">
                  <c:v>221.48099193778498</c:v>
                </c:pt>
                <c:pt idx="60">
                  <c:v>225.61087747675589</c:v>
                </c:pt>
                <c:pt idx="61">
                  <c:v>229.82512023844424</c:v>
                </c:pt>
                <c:pt idx="62">
                  <c:v>234.12138608716882</c:v>
                </c:pt>
                <c:pt idx="63">
                  <c:v>238.49697602138204</c:v>
                </c:pt>
                <c:pt idx="64">
                  <c:v>242.94880872987375</c:v>
                </c:pt>
                <c:pt idx="65">
                  <c:v>247.47339009477145</c:v>
                </c:pt>
                <c:pt idx="66">
                  <c:v>252.06683577400031</c:v>
                </c:pt>
                <c:pt idx="67">
                  <c:v>256.72488908516129</c:v>
                </c:pt>
                <c:pt idx="68">
                  <c:v>261.44293906602104</c:v>
                </c:pt>
                <c:pt idx="69">
                  <c:v>266.21604079518568</c:v>
                </c:pt>
                <c:pt idx="70">
                  <c:v>271.03912402566226</c:v>
                </c:pt>
                <c:pt idx="71">
                  <c:v>275.9069759600477</c:v>
                </c:pt>
                <c:pt idx="72">
                  <c:v>280.81422119674295</c:v>
                </c:pt>
                <c:pt idx="73">
                  <c:v>285.75532787040032</c:v>
                </c:pt>
                <c:pt idx="74">
                  <c:v>290.72462803155742</c:v>
                </c:pt>
                <c:pt idx="75">
                  <c:v>295.71634542388148</c:v>
                </c:pt>
                <c:pt idx="76">
                  <c:v>300.72462632372935</c:v>
                </c:pt>
                <c:pt idx="77">
                  <c:v>305.74357080926228</c:v>
                </c:pt>
                <c:pt idx="78">
                  <c:v>310.76726352740252</c:v>
                </c:pt>
                <c:pt idx="79">
                  <c:v>315.78980213906283</c:v>
                </c:pt>
                <c:pt idx="80">
                  <c:v>320.8053274912433</c:v>
                </c:pt>
                <c:pt idx="81">
                  <c:v>325.80805352046315</c:v>
                </c:pt>
                <c:pt idx="82">
                  <c:v>330.79229640102102</c:v>
                </c:pt>
                <c:pt idx="83">
                  <c:v>335.75250324272241</c:v>
                </c:pt>
                <c:pt idx="84">
                  <c:v>340.68327938303651</c:v>
                </c:pt>
                <c:pt idx="85">
                  <c:v>345.57941413333793</c:v>
                </c:pt>
                <c:pt idx="86">
                  <c:v>350.43590513848</c:v>
                </c:pt>
                <c:pt idx="87">
                  <c:v>355.24797967692518</c:v>
                </c:pt>
                <c:pt idx="88">
                  <c:v>360.01111405053325</c:v>
                </c:pt>
                <c:pt idx="89">
                  <c:v>364.72105048549253</c:v>
                </c:pt>
                <c:pt idx="90">
                  <c:v>369.3738115298745</c:v>
                </c:pt>
                <c:pt idx="91">
                  <c:v>373.96571179290771</c:v>
                </c:pt>
                <c:pt idx="92">
                  <c:v>378.49336699557438</c:v>
                </c:pt>
                <c:pt idx="93">
                  <c:v>382.953700466280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38.51192159470955</c:v>
                </c:pt>
                <c:pt idx="32">
                  <c:v>140.92479108593886</c:v>
                </c:pt>
                <c:pt idx="33">
                  <c:v>143.24136148323211</c:v>
                </c:pt>
                <c:pt idx="34">
                  <c:v>145.52923577408865</c:v>
                </c:pt>
                <c:pt idx="35">
                  <c:v>147.83728882906917</c:v>
                </c:pt>
                <c:pt idx="36">
                  <c:v>150.19768200397596</c:v>
                </c:pt>
                <c:pt idx="37">
                  <c:v>152.63027042168278</c:v>
                </c:pt>
                <c:pt idx="38">
                  <c:v>155.15016625561015</c:v>
                </c:pt>
                <c:pt idx="39">
                  <c:v>157.7703290963855</c:v>
                </c:pt>
                <c:pt idx="40">
                  <c:v>160.50249946632709</c:v>
                </c:pt>
                <c:pt idx="41">
                  <c:v>163.35742828078145</c:v>
                </c:pt>
                <c:pt idx="42">
                  <c:v>166.34479013355693</c:v>
                </c:pt>
                <c:pt idx="43">
                  <c:v>169.47257728218972</c:v>
                </c:pt>
                <c:pt idx="44">
                  <c:v>172.74781081344955</c:v>
                </c:pt>
                <c:pt idx="45">
                  <c:v>176.17663484195154</c:v>
                </c:pt>
                <c:pt idx="46">
                  <c:v>179.76433866365119</c:v>
                </c:pt>
                <c:pt idx="47">
                  <c:v>183.51560981679449</c:v>
                </c:pt>
                <c:pt idx="48">
                  <c:v>187.43456174105555</c:v>
                </c:pt>
                <c:pt idx="49">
                  <c:v>191.52474235309808</c:v>
                </c:pt>
                <c:pt idx="50">
                  <c:v>195.78931985483672</c:v>
                </c:pt>
                <c:pt idx="51">
                  <c:v>200.23077614978007</c:v>
                </c:pt>
                <c:pt idx="52">
                  <c:v>204.85103523493422</c:v>
                </c:pt>
                <c:pt idx="53">
                  <c:v>209.65145002364233</c:v>
                </c:pt>
                <c:pt idx="54">
                  <c:v>214.63281537113278</c:v>
                </c:pt>
                <c:pt idx="55">
                  <c:v>219.79535627275834</c:v>
                </c:pt>
                <c:pt idx="56">
                  <c:v>225.13869670342854</c:v>
                </c:pt>
                <c:pt idx="57">
                  <c:v>230.66184916490565</c:v>
                </c:pt>
                <c:pt idx="58">
                  <c:v>236.3630997618483</c:v>
                </c:pt>
                <c:pt idx="59">
                  <c:v>242.24000608242619</c:v>
                </c:pt>
                <c:pt idx="60">
                  <c:v>248.28947384650911</c:v>
                </c:pt>
                <c:pt idx="61">
                  <c:v>254.50765605602692</c:v>
                </c:pt>
                <c:pt idx="62">
                  <c:v>260.88988443961716</c:v>
                </c:pt>
                <c:pt idx="63">
                  <c:v>267.43076099418448</c:v>
                </c:pt>
                <c:pt idx="64">
                  <c:v>274.12412309730922</c:v>
                </c:pt>
                <c:pt idx="65">
                  <c:v>280.96298251324549</c:v>
                </c:pt>
                <c:pt idx="66">
                  <c:v>287.93957055784455</c:v>
                </c:pt>
                <c:pt idx="67">
                  <c:v>295.04537386630761</c:v>
                </c:pt>
                <c:pt idx="68">
                  <c:v>302.27117051416792</c:v>
                </c:pt>
                <c:pt idx="69">
                  <c:v>309.60707065863846</c:v>
                </c:pt>
                <c:pt idx="70">
                  <c:v>317.04293380573267</c:v>
                </c:pt>
                <c:pt idx="71">
                  <c:v>324.56833436064449</c:v>
                </c:pt>
                <c:pt idx="72">
                  <c:v>332.17252152017608</c:v>
                </c:pt>
                <c:pt idx="73">
                  <c:v>339.84443155363169</c:v>
                </c:pt>
                <c:pt idx="74">
                  <c:v>347.57272856208704</c:v>
                </c:pt>
                <c:pt idx="75">
                  <c:v>355.34586003287649</c:v>
                </c:pt>
                <c:pt idx="76">
                  <c:v>363.15211851871334</c:v>
                </c:pt>
                <c:pt idx="77">
                  <c:v>370.97970417592057</c:v>
                </c:pt>
                <c:pt idx="78">
                  <c:v>378.81678629834209</c:v>
                </c:pt>
                <c:pt idx="79">
                  <c:v>386.65156020780353</c:v>
                </c:pt>
                <c:pt idx="80">
                  <c:v>394.47230759830552</c:v>
                </c:pt>
                <c:pt idx="81">
                  <c:v>402.26745634288631</c:v>
                </c:pt>
                <c:pt idx="82">
                  <c:v>410.02563879014309</c:v>
                </c:pt>
                <c:pt idx="83">
                  <c:v>417.73574915968703</c:v>
                </c:pt>
                <c:pt idx="84">
                  <c:v>425.38699812645677</c:v>
                </c:pt>
                <c:pt idx="85">
                  <c:v>432.96896431320027</c:v>
                </c:pt>
                <c:pt idx="86">
                  <c:v>440.47164300962595</c:v>
                </c:pt>
                <c:pt idx="87">
                  <c:v>447.88548877265714</c:v>
                </c:pt>
                <c:pt idx="88">
                  <c:v>455.20145420601409</c:v>
                </c:pt>
                <c:pt idx="89">
                  <c:v>462.41102376207368</c:v>
                </c:pt>
                <c:pt idx="90">
                  <c:v>469.50624253697873</c:v>
                </c:pt>
                <c:pt idx="91">
                  <c:v>476.47973974918631</c:v>
                </c:pt>
                <c:pt idx="92">
                  <c:v>483.32474684066079</c:v>
                </c:pt>
                <c:pt idx="93">
                  <c:v>490.035110468214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4</c:v>
                </c:pt>
                <c:pt idx="4">
                  <c:v>6</c:v>
                </c:pt>
                <c:pt idx="5">
                  <c:v>10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6</c:v>
                </c:pt>
                <c:pt idx="10">
                  <c:v>17</c:v>
                </c:pt>
                <c:pt idx="11">
                  <c:v>20</c:v>
                </c:pt>
                <c:pt idx="12">
                  <c:v>22</c:v>
                </c:pt>
                <c:pt idx="13">
                  <c:v>22</c:v>
                </c:pt>
                <c:pt idx="14">
                  <c:v>24</c:v>
                </c:pt>
                <c:pt idx="15">
                  <c:v>26</c:v>
                </c:pt>
                <c:pt idx="16">
                  <c:v>27</c:v>
                </c:pt>
                <c:pt idx="17">
                  <c:v>28</c:v>
                </c:pt>
                <c:pt idx="18">
                  <c:v>28</c:v>
                </c:pt>
                <c:pt idx="19">
                  <c:v>28</c:v>
                </c:pt>
                <c:pt idx="20">
                  <c:v>28</c:v>
                </c:pt>
                <c:pt idx="21">
                  <c:v>29</c:v>
                </c:pt>
                <c:pt idx="22">
                  <c:v>32</c:v>
                </c:pt>
                <c:pt idx="23">
                  <c:v>32</c:v>
                </c:pt>
                <c:pt idx="24">
                  <c:v>33</c:v>
                </c:pt>
                <c:pt idx="25">
                  <c:v>33</c:v>
                </c:pt>
                <c:pt idx="26">
                  <c:v>34</c:v>
                </c:pt>
                <c:pt idx="27">
                  <c:v>34</c:v>
                </c:pt>
                <c:pt idx="28">
                  <c:v>35</c:v>
                </c:pt>
                <c:pt idx="29">
                  <c:v>36</c:v>
                </c:pt>
                <c:pt idx="30">
                  <c:v>36</c:v>
                </c:pt>
                <c:pt idx="31">
                  <c:v>37</c:v>
                </c:pt>
                <c:pt idx="32">
                  <c:v>38</c:v>
                </c:pt>
                <c:pt idx="33">
                  <c:v>38</c:v>
                </c:pt>
                <c:pt idx="34">
                  <c:v>38</c:v>
                </c:pt>
                <c:pt idx="35">
                  <c:v>38</c:v>
                </c:pt>
                <c:pt idx="36">
                  <c:v>38</c:v>
                </c:pt>
                <c:pt idx="37">
                  <c:v>38</c:v>
                </c:pt>
                <c:pt idx="38">
                  <c:v>38</c:v>
                </c:pt>
                <c:pt idx="39">
                  <c:v>38</c:v>
                </c:pt>
                <c:pt idx="40">
                  <c:v>39</c:v>
                </c:pt>
                <c:pt idx="41">
                  <c:v>39</c:v>
                </c:pt>
                <c:pt idx="42">
                  <c:v>39</c:v>
                </c:pt>
                <c:pt idx="43">
                  <c:v>39</c:v>
                </c:pt>
                <c:pt idx="44">
                  <c:v>40</c:v>
                </c:pt>
                <c:pt idx="45">
                  <c:v>41</c:v>
                </c:pt>
                <c:pt idx="46">
                  <c:v>41</c:v>
                </c:pt>
                <c:pt idx="47">
                  <c:v>41</c:v>
                </c:pt>
                <c:pt idx="48">
                  <c:v>41</c:v>
                </c:pt>
                <c:pt idx="49">
                  <c:v>41</c:v>
                </c:pt>
                <c:pt idx="50">
                  <c:v>41</c:v>
                </c:pt>
                <c:pt idx="51">
                  <c:v>41</c:v>
                </c:pt>
                <c:pt idx="52">
                  <c:v>41</c:v>
                </c:pt>
                <c:pt idx="53">
                  <c:v>42</c:v>
                </c:pt>
                <c:pt idx="54">
                  <c:v>44</c:v>
                </c:pt>
                <c:pt idx="55">
                  <c:v>44</c:v>
                </c:pt>
                <c:pt idx="56">
                  <c:v>45</c:v>
                </c:pt>
                <c:pt idx="57">
                  <c:v>47</c:v>
                </c:pt>
                <c:pt idx="58">
                  <c:v>48</c:v>
                </c:pt>
                <c:pt idx="59">
                  <c:v>48</c:v>
                </c:pt>
                <c:pt idx="60">
                  <c:v>48</c:v>
                </c:pt>
                <c:pt idx="61">
                  <c:v>48</c:v>
                </c:pt>
                <c:pt idx="62">
                  <c:v>48</c:v>
                </c:pt>
                <c:pt idx="63">
                  <c:v>48</c:v>
                </c:pt>
                <c:pt idx="64">
                  <c:v>48</c:v>
                </c:pt>
                <c:pt idx="65">
                  <c:v>50</c:v>
                </c:pt>
                <c:pt idx="66">
                  <c:v>50</c:v>
                </c:pt>
                <c:pt idx="67">
                  <c:v>51</c:v>
                </c:pt>
                <c:pt idx="68">
                  <c:v>52</c:v>
                </c:pt>
                <c:pt idx="69">
                  <c:v>52</c:v>
                </c:pt>
                <c:pt idx="70">
                  <c:v>52</c:v>
                </c:pt>
                <c:pt idx="71">
                  <c:v>52</c:v>
                </c:pt>
                <c:pt idx="72">
                  <c:v>53</c:v>
                </c:pt>
                <c:pt idx="73">
                  <c:v>53</c:v>
                </c:pt>
                <c:pt idx="74">
                  <c:v>53</c:v>
                </c:pt>
                <c:pt idx="75">
                  <c:v>54</c:v>
                </c:pt>
                <c:pt idx="76">
                  <c:v>54</c:v>
                </c:pt>
                <c:pt idx="77">
                  <c:v>54</c:v>
                </c:pt>
                <c:pt idx="78">
                  <c:v>54</c:v>
                </c:pt>
                <c:pt idx="79">
                  <c:v>55</c:v>
                </c:pt>
                <c:pt idx="80">
                  <c:v>55</c:v>
                </c:pt>
                <c:pt idx="81">
                  <c:v>56</c:v>
                </c:pt>
                <c:pt idx="82">
                  <c:v>57</c:v>
                </c:pt>
                <c:pt idx="83">
                  <c:v>57</c:v>
                </c:pt>
                <c:pt idx="84">
                  <c:v>57</c:v>
                </c:pt>
                <c:pt idx="85">
                  <c:v>58</c:v>
                </c:pt>
                <c:pt idx="86">
                  <c:v>58</c:v>
                </c:pt>
                <c:pt idx="87">
                  <c:v>59</c:v>
                </c:pt>
                <c:pt idx="88">
                  <c:v>60</c:v>
                </c:pt>
                <c:pt idx="89">
                  <c:v>60</c:v>
                </c:pt>
                <c:pt idx="90">
                  <c:v>60</c:v>
                </c:pt>
                <c:pt idx="91">
                  <c:v>60</c:v>
                </c:pt>
                <c:pt idx="92">
                  <c:v>60</c:v>
                </c:pt>
                <c:pt idx="93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6.543118182639901</c:v>
                </c:pt>
                <c:pt idx="32">
                  <c:v>37.064819694257054</c:v>
                </c:pt>
                <c:pt idx="33">
                  <c:v>37.565699780158297</c:v>
                </c:pt>
                <c:pt idx="34">
                  <c:v>38.046355664145032</c:v>
                </c:pt>
                <c:pt idx="35">
                  <c:v>38.507384558839554</c:v>
                </c:pt>
                <c:pt idx="36">
                  <c:v>38.949880424102574</c:v>
                </c:pt>
                <c:pt idx="37">
                  <c:v>39.374395521545267</c:v>
                </c:pt>
                <c:pt idx="38">
                  <c:v>39.781479838980054</c:v>
                </c:pt>
                <c:pt idx="39">
                  <c:v>40.171679794565698</c:v>
                </c:pt>
                <c:pt idx="40">
                  <c:v>40.545537076366841</c:v>
                </c:pt>
                <c:pt idx="41">
                  <c:v>40.907698783802601</c:v>
                </c:pt>
                <c:pt idx="42">
                  <c:v>41.261628301233316</c:v>
                </c:pt>
                <c:pt idx="43">
                  <c:v>41.60944568709688</c:v>
                </c:pt>
                <c:pt idx="44">
                  <c:v>41.95251058604245</c:v>
                </c:pt>
                <c:pt idx="45">
                  <c:v>42.291764549544922</c:v>
                </c:pt>
                <c:pt idx="46">
                  <c:v>42.627924960130478</c:v>
                </c:pt>
                <c:pt idx="47">
                  <c:v>42.961569048402289</c:v>
                </c:pt>
                <c:pt idx="48">
                  <c:v>43.293163440764353</c:v>
                </c:pt>
                <c:pt idx="49">
                  <c:v>43.623069121380091</c:v>
                </c:pt>
                <c:pt idx="50">
                  <c:v>43.951510117151102</c:v>
                </c:pt>
                <c:pt idx="51">
                  <c:v>44.278627295634273</c:v>
                </c:pt>
                <c:pt idx="52">
                  <c:v>44.604493013582136</c:v>
                </c:pt>
                <c:pt idx="53">
                  <c:v>44.929120059840969</c:v>
                </c:pt>
                <c:pt idx="54">
                  <c:v>45.252484285151745</c:v>
                </c:pt>
                <c:pt idx="55">
                  <c:v>45.574532217099396</c:v>
                </c:pt>
                <c:pt idx="56">
                  <c:v>45.895187474870717</c:v>
                </c:pt>
                <c:pt idx="57">
                  <c:v>46.214367478199875</c:v>
                </c:pt>
                <c:pt idx="58">
                  <c:v>46.531968223322501</c:v>
                </c:pt>
                <c:pt idx="59">
                  <c:v>46.847876636093197</c:v>
                </c:pt>
                <c:pt idx="60">
                  <c:v>47.161973798558158</c:v>
                </c:pt>
                <c:pt idx="61">
                  <c:v>47.474139548237233</c:v>
                </c:pt>
                <c:pt idx="62">
                  <c:v>47.78425505916335</c:v>
                </c:pt>
                <c:pt idx="63">
                  <c:v>48.092204042548062</c:v>
                </c:pt>
                <c:pt idx="64">
                  <c:v>48.397875149992942</c:v>
                </c:pt>
                <c:pt idx="65">
                  <c:v>48.701156801141813</c:v>
                </c:pt>
                <c:pt idx="66">
                  <c:v>49.001939188708249</c:v>
                </c:pt>
                <c:pt idx="67">
                  <c:v>49.300121116446135</c:v>
                </c:pt>
                <c:pt idx="68">
                  <c:v>49.595604941732965</c:v>
                </c:pt>
                <c:pt idx="69">
                  <c:v>49.888293277106506</c:v>
                </c:pt>
                <c:pt idx="70">
                  <c:v>50.17810719175727</c:v>
                </c:pt>
                <c:pt idx="71">
                  <c:v>50.464981430724535</c:v>
                </c:pt>
                <c:pt idx="72">
                  <c:v>50.748856329847968</c:v>
                </c:pt>
                <c:pt idx="73">
                  <c:v>51.029677957640303</c:v>
                </c:pt>
                <c:pt idx="74">
                  <c:v>51.307398140200789</c:v>
                </c:pt>
                <c:pt idx="75">
                  <c:v>51.581974427186218</c:v>
                </c:pt>
                <c:pt idx="76">
                  <c:v>51.853369981901452</c:v>
                </c:pt>
                <c:pt idx="77">
                  <c:v>52.121553336112186</c:v>
                </c:pt>
                <c:pt idx="78">
                  <c:v>52.386498031842869</c:v>
                </c:pt>
                <c:pt idx="79">
                  <c:v>52.64818207917174</c:v>
                </c:pt>
                <c:pt idx="80">
                  <c:v>52.906587553138458</c:v>
                </c:pt>
                <c:pt idx="81">
                  <c:v>53.161700225042196</c:v>
                </c:pt>
                <c:pt idx="82">
                  <c:v>53.413509220554182</c:v>
                </c:pt>
                <c:pt idx="83">
                  <c:v>53.662006743598049</c:v>
                </c:pt>
                <c:pt idx="84">
                  <c:v>53.907187821035954</c:v>
                </c:pt>
                <c:pt idx="85">
                  <c:v>54.149050083100853</c:v>
                </c:pt>
                <c:pt idx="86">
                  <c:v>54.387593600634247</c:v>
                </c:pt>
                <c:pt idx="87">
                  <c:v>54.622820680811422</c:v>
                </c:pt>
                <c:pt idx="88">
                  <c:v>54.854735711510031</c:v>
                </c:pt>
                <c:pt idx="89">
                  <c:v>55.083345022193143</c:v>
                </c:pt>
                <c:pt idx="90">
                  <c:v>55.308656765604972</c:v>
                </c:pt>
                <c:pt idx="91">
                  <c:v>55.530680811134737</c:v>
                </c:pt>
                <c:pt idx="92">
                  <c:v>55.749428648921025</c:v>
                </c:pt>
                <c:pt idx="93">
                  <c:v>55.96491331253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6.543118182639901</c:v>
                </c:pt>
                <c:pt idx="32">
                  <c:v>37.064819694257054</c:v>
                </c:pt>
                <c:pt idx="33">
                  <c:v>37.565699780158297</c:v>
                </c:pt>
                <c:pt idx="34">
                  <c:v>38.053365483325344</c:v>
                </c:pt>
                <c:pt idx="35">
                  <c:v>38.541836442118822</c:v>
                </c:pt>
                <c:pt idx="36">
                  <c:v>39.035965792255702</c:v>
                </c:pt>
                <c:pt idx="37">
                  <c:v>39.537900033505998</c:v>
                </c:pt>
                <c:pt idx="38">
                  <c:v>40.04927291434781</c:v>
                </c:pt>
                <c:pt idx="39">
                  <c:v>40.57148547160557</c:v>
                </c:pt>
                <c:pt idx="40">
                  <c:v>41.105806950935353</c:v>
                </c:pt>
                <c:pt idx="41">
                  <c:v>41.653399613455704</c:v>
                </c:pt>
                <c:pt idx="42">
                  <c:v>42.215309361199964</c:v>
                </c:pt>
                <c:pt idx="43">
                  <c:v>42.792400222009874</c:v>
                </c:pt>
                <c:pt idx="44">
                  <c:v>43.385431232292959</c:v>
                </c:pt>
                <c:pt idx="45">
                  <c:v>43.995066620656274</c:v>
                </c:pt>
                <c:pt idx="46">
                  <c:v>44.621878202878868</c:v>
                </c:pt>
                <c:pt idx="47">
                  <c:v>45.266372739852081</c:v>
                </c:pt>
                <c:pt idx="48">
                  <c:v>45.928994927756939</c:v>
                </c:pt>
                <c:pt idx="49">
                  <c:v>46.610128325151635</c:v>
                </c:pt>
                <c:pt idx="50">
                  <c:v>47.310115440351368</c:v>
                </c:pt>
                <c:pt idx="51">
                  <c:v>48.029224587248933</c:v>
                </c:pt>
                <c:pt idx="52">
                  <c:v>48.767663765520638</c:v>
                </c:pt>
                <c:pt idx="53">
                  <c:v>49.525579236068396</c:v>
                </c:pt>
                <c:pt idx="54">
                  <c:v>50.303056929187271</c:v>
                </c:pt>
                <c:pt idx="55">
                  <c:v>51.100121168699083</c:v>
                </c:pt>
                <c:pt idx="56">
                  <c:v>51.91673130324277</c:v>
                </c:pt>
                <c:pt idx="57">
                  <c:v>52.752780576252093</c:v>
                </c:pt>
                <c:pt idx="58">
                  <c:v>53.608083701744128</c:v>
                </c:pt>
                <c:pt idx="59">
                  <c:v>54.482376635196751</c:v>
                </c:pt>
                <c:pt idx="60">
                  <c:v>55.375324859839111</c:v>
                </c:pt>
                <c:pt idx="61">
                  <c:v>56.286512483987948</c:v>
                </c:pt>
                <c:pt idx="62">
                  <c:v>57.215434829658129</c:v>
                </c:pt>
                <c:pt idx="63">
                  <c:v>58.161508328947477</c:v>
                </c:pt>
                <c:pt idx="64">
                  <c:v>59.124066752405142</c:v>
                </c:pt>
                <c:pt idx="65">
                  <c:v>60.102354615085723</c:v>
                </c:pt>
                <c:pt idx="66">
                  <c:v>61.095532059243311</c:v>
                </c:pt>
                <c:pt idx="67">
                  <c:v>62.102678721115957</c:v>
                </c:pt>
                <c:pt idx="68">
                  <c:v>63.12279763589644</c:v>
                </c:pt>
                <c:pt idx="69">
                  <c:v>64.15481963139149</c:v>
                </c:pt>
                <c:pt idx="70">
                  <c:v>65.197648437981016</c:v>
                </c:pt>
                <c:pt idx="71">
                  <c:v>66.250156964334636</c:v>
                </c:pt>
                <c:pt idx="72">
                  <c:v>67.311182961457931</c:v>
                </c:pt>
                <c:pt idx="73">
                  <c:v>68.379530350356816</c:v>
                </c:pt>
                <c:pt idx="74">
                  <c:v>69.453973628444842</c:v>
                </c:pt>
                <c:pt idx="75">
                  <c:v>70.533263875433832</c:v>
                </c:pt>
                <c:pt idx="76">
                  <c:v>71.616135421346883</c:v>
                </c:pt>
                <c:pt idx="77">
                  <c:v>72.701312607408056</c:v>
                </c:pt>
                <c:pt idx="78">
                  <c:v>73.787516438357301</c:v>
                </c:pt>
                <c:pt idx="79">
                  <c:v>74.873470732770343</c:v>
                </c:pt>
                <c:pt idx="80">
                  <c:v>75.9579086467553</c:v>
                </c:pt>
                <c:pt idx="81">
                  <c:v>77.039579139559592</c:v>
                </c:pt>
                <c:pt idx="82">
                  <c:v>78.117253275896431</c:v>
                </c:pt>
                <c:pt idx="83">
                  <c:v>79.189730430858901</c:v>
                </c:pt>
                <c:pt idx="84">
                  <c:v>80.255844190926808</c:v>
                </c:pt>
                <c:pt idx="85">
                  <c:v>81.314467920721711</c:v>
                </c:pt>
                <c:pt idx="86">
                  <c:v>82.364520029941616</c:v>
                </c:pt>
                <c:pt idx="87">
                  <c:v>83.404968578794623</c:v>
                </c:pt>
                <c:pt idx="88">
                  <c:v>84.434835470385551</c:v>
                </c:pt>
                <c:pt idx="89">
                  <c:v>85.45320010497133</c:v>
                </c:pt>
                <c:pt idx="90">
                  <c:v>86.459202492945806</c:v>
                </c:pt>
                <c:pt idx="91">
                  <c:v>87.452045793061103</c:v>
                </c:pt>
                <c:pt idx="92">
                  <c:v>88.430998269313363</c:v>
                </c:pt>
                <c:pt idx="93">
                  <c:v>89.3953946954120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6.543118182639901</c:v>
                </c:pt>
                <c:pt idx="32">
                  <c:v>37.064819694257054</c:v>
                </c:pt>
                <c:pt idx="33">
                  <c:v>37.565699780158297</c:v>
                </c:pt>
                <c:pt idx="34">
                  <c:v>38.060375302505655</c:v>
                </c:pt>
                <c:pt idx="35">
                  <c:v>38.559413800879817</c:v>
                </c:pt>
                <c:pt idx="36">
                  <c:v>39.069769081940741</c:v>
                </c:pt>
                <c:pt idx="37">
                  <c:v>39.595734145228697</c:v>
                </c:pt>
                <c:pt idx="38">
                  <c:v>40.140576487699484</c:v>
                </c:pt>
                <c:pt idx="39">
                  <c:v>40.707098183002266</c:v>
                </c:pt>
                <c:pt idx="40">
                  <c:v>41.297837722449096</c:v>
                </c:pt>
                <c:pt idx="41">
                  <c:v>41.915119628277061</c:v>
                </c:pt>
                <c:pt idx="42">
                  <c:v>42.561035704552843</c:v>
                </c:pt>
                <c:pt idx="43">
                  <c:v>43.237314006959927</c:v>
                </c:pt>
                <c:pt idx="44">
                  <c:v>43.945472608313409</c:v>
                </c:pt>
                <c:pt idx="45">
                  <c:v>44.686839965827353</c:v>
                </c:pt>
                <c:pt idx="46">
                  <c:v>45.462559711059711</c:v>
                </c:pt>
                <c:pt idx="47">
                  <c:v>46.273645365793399</c:v>
                </c:pt>
                <c:pt idx="48">
                  <c:v>47.120986322390387</c:v>
                </c:pt>
                <c:pt idx="49">
                  <c:v>48.005349697967148</c:v>
                </c:pt>
                <c:pt idx="50">
                  <c:v>48.927420509153876</c:v>
                </c:pt>
                <c:pt idx="51">
                  <c:v>49.887735383736221</c:v>
                </c:pt>
                <c:pt idx="52">
                  <c:v>50.886710321066843</c:v>
                </c:pt>
                <c:pt idx="53">
                  <c:v>51.924637842949679</c:v>
                </c:pt>
                <c:pt idx="54">
                  <c:v>53.001689809974643</c:v>
                </c:pt>
                <c:pt idx="55">
                  <c:v>54.117914869785579</c:v>
                </c:pt>
                <c:pt idx="56">
                  <c:v>55.273231719660217</c:v>
                </c:pt>
                <c:pt idx="57">
                  <c:v>56.467426846466076</c:v>
                </c:pt>
                <c:pt idx="58">
                  <c:v>57.70012967823746</c:v>
                </c:pt>
                <c:pt idx="59">
                  <c:v>58.970812125929974</c:v>
                </c:pt>
                <c:pt idx="60">
                  <c:v>60.278805156001958</c:v>
                </c:pt>
                <c:pt idx="61">
                  <c:v>61.623276985086889</c:v>
                </c:pt>
                <c:pt idx="62">
                  <c:v>63.003218257214513</c:v>
                </c:pt>
                <c:pt idx="63">
                  <c:v>64.417461836580415</c:v>
                </c:pt>
                <c:pt idx="64">
                  <c:v>65.864675264283065</c:v>
                </c:pt>
                <c:pt idx="65">
                  <c:v>67.343347570431447</c:v>
                </c:pt>
                <c:pt idx="66">
                  <c:v>68.851799039533944</c:v>
                </c:pt>
                <c:pt idx="67">
                  <c:v>70.388188944066499</c:v>
                </c:pt>
                <c:pt idx="68">
                  <c:v>71.950523354414671</c:v>
                </c:pt>
                <c:pt idx="69">
                  <c:v>73.536663926192091</c:v>
                </c:pt>
                <c:pt idx="70">
                  <c:v>75.144418120158406</c:v>
                </c:pt>
                <c:pt idx="71">
                  <c:v>76.771531753652852</c:v>
                </c:pt>
                <c:pt idx="72">
                  <c:v>78.415680328686719</c:v>
                </c:pt>
                <c:pt idx="73">
                  <c:v>80.074471687271711</c:v>
                </c:pt>
                <c:pt idx="74">
                  <c:v>81.745454824235026</c:v>
                </c:pt>
                <c:pt idx="75">
                  <c:v>83.42613189900031</c:v>
                </c:pt>
                <c:pt idx="76">
                  <c:v>85.113971571613675</c:v>
                </c:pt>
                <c:pt idx="77">
                  <c:v>86.806422524523356</c:v>
                </c:pt>
                <c:pt idx="78">
                  <c:v>88.500926767209094</c:v>
                </c:pt>
                <c:pt idx="79">
                  <c:v>90.194931936822371</c:v>
                </c:pt>
                <c:pt idx="80">
                  <c:v>91.885904345579561</c:v>
                </c:pt>
                <c:pt idx="81">
                  <c:v>93.571341911975395</c:v>
                </c:pt>
                <c:pt idx="82">
                  <c:v>95.248786765436321</c:v>
                </c:pt>
                <c:pt idx="83">
                  <c:v>96.915837656148526</c:v>
                </c:pt>
                <c:pt idx="84">
                  <c:v>98.570161757071716</c:v>
                </c:pt>
                <c:pt idx="85">
                  <c:v>100.20950579744868</c:v>
                </c:pt>
                <c:pt idx="86">
                  <c:v>101.83170659667586</c:v>
                </c:pt>
                <c:pt idx="87">
                  <c:v>103.43470027516909</c:v>
                </c:pt>
                <c:pt idx="88">
                  <c:v>105.01653063913817</c:v>
                </c:pt>
                <c:pt idx="89">
                  <c:v>106.575356489097</c:v>
                </c:pt>
                <c:pt idx="90">
                  <c:v>108.10945784583323</c:v>
                </c:pt>
                <c:pt idx="91">
                  <c:v>109.61724102685109</c:v>
                </c:pt>
                <c:pt idx="92">
                  <c:v>111.09724256014287</c:v>
                </c:pt>
                <c:pt idx="93">
                  <c:v>112.548131993127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6</c:v>
                </c:pt>
                <c:pt idx="1">
                  <c:v>12</c:v>
                </c:pt>
                <c:pt idx="2">
                  <c:v>20</c:v>
                </c:pt>
                <c:pt idx="3">
                  <c:v>23</c:v>
                </c:pt>
                <c:pt idx="4">
                  <c:v>30</c:v>
                </c:pt>
                <c:pt idx="5">
                  <c:v>36</c:v>
                </c:pt>
                <c:pt idx="6">
                  <c:v>51</c:v>
                </c:pt>
                <c:pt idx="7">
                  <c:v>58</c:v>
                </c:pt>
                <c:pt idx="8">
                  <c:v>65</c:v>
                </c:pt>
                <c:pt idx="9">
                  <c:v>69</c:v>
                </c:pt>
                <c:pt idx="10">
                  <c:v>72</c:v>
                </c:pt>
                <c:pt idx="11">
                  <c:v>73</c:v>
                </c:pt>
                <c:pt idx="12">
                  <c:v>77</c:v>
                </c:pt>
                <c:pt idx="13">
                  <c:v>79</c:v>
                </c:pt>
                <c:pt idx="14">
                  <c:v>83</c:v>
                </c:pt>
                <c:pt idx="15">
                  <c:v>86</c:v>
                </c:pt>
                <c:pt idx="16">
                  <c:v>90</c:v>
                </c:pt>
                <c:pt idx="17">
                  <c:v>96</c:v>
                </c:pt>
                <c:pt idx="18">
                  <c:v>101</c:v>
                </c:pt>
                <c:pt idx="19">
                  <c:v>106</c:v>
                </c:pt>
                <c:pt idx="20">
                  <c:v>111</c:v>
                </c:pt>
                <c:pt idx="21">
                  <c:v>116</c:v>
                </c:pt>
                <c:pt idx="22">
                  <c:v>120</c:v>
                </c:pt>
                <c:pt idx="23">
                  <c:v>124</c:v>
                </c:pt>
                <c:pt idx="24">
                  <c:v>124</c:v>
                </c:pt>
                <c:pt idx="25">
                  <c:v>130</c:v>
                </c:pt>
                <c:pt idx="26">
                  <c:v>140</c:v>
                </c:pt>
                <c:pt idx="27">
                  <c:v>149</c:v>
                </c:pt>
                <c:pt idx="28">
                  <c:v>159</c:v>
                </c:pt>
                <c:pt idx="29">
                  <c:v>160</c:v>
                </c:pt>
                <c:pt idx="30">
                  <c:v>166</c:v>
                </c:pt>
                <c:pt idx="31">
                  <c:v>168</c:v>
                </c:pt>
                <c:pt idx="32">
                  <c:v>171</c:v>
                </c:pt>
                <c:pt idx="33">
                  <c:v>178</c:v>
                </c:pt>
                <c:pt idx="34">
                  <c:v>182</c:v>
                </c:pt>
                <c:pt idx="35">
                  <c:v>184</c:v>
                </c:pt>
                <c:pt idx="36">
                  <c:v>189</c:v>
                </c:pt>
                <c:pt idx="37">
                  <c:v>195</c:v>
                </c:pt>
                <c:pt idx="38">
                  <c:v>200</c:v>
                </c:pt>
                <c:pt idx="39">
                  <c:v>200</c:v>
                </c:pt>
                <c:pt idx="40">
                  <c:v>203</c:v>
                </c:pt>
                <c:pt idx="41">
                  <c:v>208</c:v>
                </c:pt>
                <c:pt idx="42">
                  <c:v>209</c:v>
                </c:pt>
                <c:pt idx="43">
                  <c:v>214</c:v>
                </c:pt>
                <c:pt idx="44">
                  <c:v>215</c:v>
                </c:pt>
                <c:pt idx="45">
                  <c:v>216</c:v>
                </c:pt>
                <c:pt idx="46">
                  <c:v>216</c:v>
                </c:pt>
                <c:pt idx="47">
                  <c:v>220</c:v>
                </c:pt>
                <c:pt idx="48">
                  <c:v>222</c:v>
                </c:pt>
                <c:pt idx="49">
                  <c:v>226</c:v>
                </c:pt>
                <c:pt idx="50">
                  <c:v>227</c:v>
                </c:pt>
                <c:pt idx="51">
                  <c:v>229</c:v>
                </c:pt>
                <c:pt idx="52">
                  <c:v>230</c:v>
                </c:pt>
                <c:pt idx="53">
                  <c:v>231</c:v>
                </c:pt>
                <c:pt idx="54">
                  <c:v>232</c:v>
                </c:pt>
                <c:pt idx="55">
                  <c:v>232</c:v>
                </c:pt>
                <c:pt idx="56">
                  <c:v>233</c:v>
                </c:pt>
                <c:pt idx="57">
                  <c:v>237</c:v>
                </c:pt>
                <c:pt idx="58">
                  <c:v>238</c:v>
                </c:pt>
                <c:pt idx="59">
                  <c:v>239</c:v>
                </c:pt>
                <c:pt idx="60">
                  <c:v>241</c:v>
                </c:pt>
                <c:pt idx="61">
                  <c:v>242</c:v>
                </c:pt>
                <c:pt idx="62">
                  <c:v>247</c:v>
                </c:pt>
                <c:pt idx="63">
                  <c:v>249</c:v>
                </c:pt>
                <c:pt idx="64">
                  <c:v>251</c:v>
                </c:pt>
                <c:pt idx="65">
                  <c:v>253</c:v>
                </c:pt>
                <c:pt idx="66">
                  <c:v>255</c:v>
                </c:pt>
                <c:pt idx="67">
                  <c:v>256</c:v>
                </c:pt>
                <c:pt idx="68">
                  <c:v>261</c:v>
                </c:pt>
                <c:pt idx="69">
                  <c:v>263</c:v>
                </c:pt>
                <c:pt idx="70">
                  <c:v>268</c:v>
                </c:pt>
                <c:pt idx="71">
                  <c:v>273</c:v>
                </c:pt>
                <c:pt idx="72">
                  <c:v>279</c:v>
                </c:pt>
                <c:pt idx="73">
                  <c:v>280</c:v>
                </c:pt>
                <c:pt idx="74">
                  <c:v>283</c:v>
                </c:pt>
                <c:pt idx="75">
                  <c:v>287</c:v>
                </c:pt>
                <c:pt idx="76">
                  <c:v>289</c:v>
                </c:pt>
                <c:pt idx="77">
                  <c:v>289</c:v>
                </c:pt>
                <c:pt idx="78">
                  <c:v>292</c:v>
                </c:pt>
                <c:pt idx="79">
                  <c:v>293</c:v>
                </c:pt>
                <c:pt idx="80">
                  <c:v>294</c:v>
                </c:pt>
                <c:pt idx="81">
                  <c:v>294</c:v>
                </c:pt>
                <c:pt idx="82">
                  <c:v>296</c:v>
                </c:pt>
                <c:pt idx="83">
                  <c:v>299</c:v>
                </c:pt>
                <c:pt idx="84">
                  <c:v>307</c:v>
                </c:pt>
                <c:pt idx="85">
                  <c:v>311</c:v>
                </c:pt>
                <c:pt idx="86">
                  <c:v>313</c:v>
                </c:pt>
                <c:pt idx="87">
                  <c:v>314</c:v>
                </c:pt>
                <c:pt idx="88">
                  <c:v>314</c:v>
                </c:pt>
                <c:pt idx="89">
                  <c:v>316</c:v>
                </c:pt>
                <c:pt idx="90">
                  <c:v>318</c:v>
                </c:pt>
                <c:pt idx="91">
                  <c:v>318</c:v>
                </c:pt>
                <c:pt idx="92">
                  <c:v>319</c:v>
                </c:pt>
                <c:pt idx="93">
                  <c:v>3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0.00549659696929</c:v>
                </c:pt>
                <c:pt idx="32">
                  <c:v>173.85304524514578</c:v>
                </c:pt>
                <c:pt idx="33">
                  <c:v>177.54703587866746</c:v>
                </c:pt>
                <c:pt idx="34">
                  <c:v>181.09187302306964</c:v>
                </c:pt>
                <c:pt idx="35">
                  <c:v>184.49196112144173</c:v>
                </c:pt>
                <c:pt idx="36">
                  <c:v>187.75536812775653</c:v>
                </c:pt>
                <c:pt idx="37">
                  <c:v>190.88616697139636</c:v>
                </c:pt>
                <c:pt idx="38">
                  <c:v>193.88841381247789</c:v>
                </c:pt>
                <c:pt idx="39">
                  <c:v>196.76613848492198</c:v>
                </c:pt>
                <c:pt idx="40">
                  <c:v>199.52333593820541</c:v>
                </c:pt>
                <c:pt idx="41">
                  <c:v>202.19427853054415</c:v>
                </c:pt>
                <c:pt idx="42">
                  <c:v>204.80450872159568</c:v>
                </c:pt>
                <c:pt idx="43">
                  <c:v>207.36966194233946</c:v>
                </c:pt>
                <c:pt idx="44">
                  <c:v>209.89976557206302</c:v>
                </c:pt>
                <c:pt idx="45">
                  <c:v>212.40176355289373</c:v>
                </c:pt>
                <c:pt idx="46">
                  <c:v>214.88094658096219</c:v>
                </c:pt>
                <c:pt idx="47">
                  <c:v>217.34157173196678</c:v>
                </c:pt>
                <c:pt idx="48">
                  <c:v>219.787080375637</c:v>
                </c:pt>
                <c:pt idx="49">
                  <c:v>222.22013477017805</c:v>
                </c:pt>
                <c:pt idx="50">
                  <c:v>224.64238711398926</c:v>
                </c:pt>
                <c:pt idx="51">
                  <c:v>227.05487630530266</c:v>
                </c:pt>
                <c:pt idx="52">
                  <c:v>229.45813597516818</c:v>
                </c:pt>
                <c:pt idx="53">
                  <c:v>231.85226044132705</c:v>
                </c:pt>
                <c:pt idx="54">
                  <c:v>234.23707160299404</c:v>
                </c:pt>
                <c:pt idx="55">
                  <c:v>236.61217510110799</c:v>
                </c:pt>
                <c:pt idx="56">
                  <c:v>238.9770076271715</c:v>
                </c:pt>
                <c:pt idx="57">
                  <c:v>241.33096015172404</c:v>
                </c:pt>
                <c:pt idx="58">
                  <c:v>243.6732656470034</c:v>
                </c:pt>
                <c:pt idx="59">
                  <c:v>246.00309019118728</c:v>
                </c:pt>
                <c:pt idx="60">
                  <c:v>248.31955676436635</c:v>
                </c:pt>
                <c:pt idx="61">
                  <c:v>250.62177916824956</c:v>
                </c:pt>
                <c:pt idx="62">
                  <c:v>252.90888106132968</c:v>
                </c:pt>
                <c:pt idx="63">
                  <c:v>255.18000481379192</c:v>
                </c:pt>
                <c:pt idx="64">
                  <c:v>257.43432923119792</c:v>
                </c:pt>
                <c:pt idx="65">
                  <c:v>259.67103140842084</c:v>
                </c:pt>
                <c:pt idx="66">
                  <c:v>261.88930151672332</c:v>
                </c:pt>
                <c:pt idx="67">
                  <c:v>264.08839323379021</c:v>
                </c:pt>
                <c:pt idx="68">
                  <c:v>266.26758644528059</c:v>
                </c:pt>
                <c:pt idx="69">
                  <c:v>268.42616291866045</c:v>
                </c:pt>
                <c:pt idx="70">
                  <c:v>270.56354053920984</c:v>
                </c:pt>
                <c:pt idx="71">
                  <c:v>272.67923805159342</c:v>
                </c:pt>
                <c:pt idx="72">
                  <c:v>274.77281543262876</c:v>
                </c:pt>
                <c:pt idx="73">
                  <c:v>276.84387493759721</c:v>
                </c:pt>
                <c:pt idx="74">
                  <c:v>278.89206128398081</c:v>
                </c:pt>
                <c:pt idx="75">
                  <c:v>280.91706140049831</c:v>
                </c:pt>
                <c:pt idx="76">
                  <c:v>282.91860361652317</c:v>
                </c:pt>
                <c:pt idx="77">
                  <c:v>284.89645585382732</c:v>
                </c:pt>
                <c:pt idx="78">
                  <c:v>286.85042298484115</c:v>
                </c:pt>
                <c:pt idx="79">
                  <c:v>288.78034283389155</c:v>
                </c:pt>
                <c:pt idx="80">
                  <c:v>290.68608320439608</c:v>
                </c:pt>
                <c:pt idx="81">
                  <c:v>292.56753915968619</c:v>
                </c:pt>
                <c:pt idx="82">
                  <c:v>294.42463050158705</c:v>
                </c:pt>
                <c:pt idx="83">
                  <c:v>296.25729973403554</c:v>
                </c:pt>
                <c:pt idx="84">
                  <c:v>298.06551018014005</c:v>
                </c:pt>
                <c:pt idx="85">
                  <c:v>299.84924436286866</c:v>
                </c:pt>
                <c:pt idx="86">
                  <c:v>301.60850280467741</c:v>
                </c:pt>
                <c:pt idx="87">
                  <c:v>303.34330252098408</c:v>
                </c:pt>
                <c:pt idx="88">
                  <c:v>305.05367587238635</c:v>
                </c:pt>
                <c:pt idx="89">
                  <c:v>306.73966953867426</c:v>
                </c:pt>
                <c:pt idx="90">
                  <c:v>308.4013436463365</c:v>
                </c:pt>
                <c:pt idx="91">
                  <c:v>310.03877098211848</c:v>
                </c:pt>
                <c:pt idx="92">
                  <c:v>311.65203628579235</c:v>
                </c:pt>
                <c:pt idx="93">
                  <c:v>313.241235679932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0.00549659696929</c:v>
                </c:pt>
                <c:pt idx="32">
                  <c:v>173.85304524514578</c:v>
                </c:pt>
                <c:pt idx="33">
                  <c:v>177.54703587866746</c:v>
                </c:pt>
                <c:pt idx="34">
                  <c:v>181.14357043952444</c:v>
                </c:pt>
                <c:pt idx="35">
                  <c:v>184.74604376062632</c:v>
                </c:pt>
                <c:pt idx="36">
                  <c:v>188.39024771788581</c:v>
                </c:pt>
                <c:pt idx="37">
                  <c:v>192.09201274710674</c:v>
                </c:pt>
                <c:pt idx="38">
                  <c:v>195.86338774331509</c:v>
                </c:pt>
                <c:pt idx="39">
                  <c:v>199.71470535309106</c:v>
                </c:pt>
                <c:pt idx="40">
                  <c:v>203.65532626314823</c:v>
                </c:pt>
                <c:pt idx="41">
                  <c:v>207.69382214923581</c:v>
                </c:pt>
                <c:pt idx="42">
                  <c:v>211.83790653884972</c:v>
                </c:pt>
                <c:pt idx="43">
                  <c:v>216.09395163732282</c:v>
                </c:pt>
                <c:pt idx="44">
                  <c:v>220.46755533816054</c:v>
                </c:pt>
                <c:pt idx="45">
                  <c:v>224.96361632733999</c:v>
                </c:pt>
                <c:pt idx="46">
                  <c:v>229.58635174623166</c:v>
                </c:pt>
                <c:pt idx="47">
                  <c:v>234.3394989564091</c:v>
                </c:pt>
                <c:pt idx="48">
                  <c:v>239.22633759220744</c:v>
                </c:pt>
                <c:pt idx="49">
                  <c:v>244.24969639799332</c:v>
                </c:pt>
                <c:pt idx="50">
                  <c:v>249.41210137259134</c:v>
                </c:pt>
                <c:pt idx="51">
                  <c:v>254.71553133096089</c:v>
                </c:pt>
                <c:pt idx="52">
                  <c:v>260.16152027071473</c:v>
                </c:pt>
                <c:pt idx="53">
                  <c:v>265.75114686600443</c:v>
                </c:pt>
                <c:pt idx="54">
                  <c:v>271.48504485275612</c:v>
                </c:pt>
                <c:pt idx="55">
                  <c:v>277.36339361915572</c:v>
                </c:pt>
                <c:pt idx="56">
                  <c:v>283.38589336141541</c:v>
                </c:pt>
                <c:pt idx="57">
                  <c:v>289.55175674985918</c:v>
                </c:pt>
                <c:pt idx="58">
                  <c:v>295.85961730036291</c:v>
                </c:pt>
                <c:pt idx="59">
                  <c:v>302.30752768457603</c:v>
                </c:pt>
                <c:pt idx="60">
                  <c:v>308.89302084131344</c:v>
                </c:pt>
                <c:pt idx="61">
                  <c:v>315.61302956941108</c:v>
                </c:pt>
                <c:pt idx="62">
                  <c:v>322.46383186872868</c:v>
                </c:pt>
                <c:pt idx="63">
                  <c:v>329.4411239259876</c:v>
                </c:pt>
                <c:pt idx="64">
                  <c:v>336.5399922989879</c:v>
                </c:pt>
                <c:pt idx="65">
                  <c:v>343.7548652862572</c:v>
                </c:pt>
                <c:pt idx="66">
                  <c:v>351.07954893691942</c:v>
                </c:pt>
                <c:pt idx="67">
                  <c:v>358.50725556823016</c:v>
                </c:pt>
                <c:pt idx="68">
                  <c:v>366.03063256473621</c:v>
                </c:pt>
                <c:pt idx="69">
                  <c:v>373.6417947815122</c:v>
                </c:pt>
                <c:pt idx="70">
                  <c:v>381.33265723010999</c:v>
                </c:pt>
                <c:pt idx="71">
                  <c:v>389.09490761196787</c:v>
                </c:pt>
                <c:pt idx="72">
                  <c:v>396.91997434075222</c:v>
                </c:pt>
                <c:pt idx="73">
                  <c:v>404.79903633388153</c:v>
                </c:pt>
                <c:pt idx="74">
                  <c:v>412.72305550978069</c:v>
                </c:pt>
                <c:pt idx="75">
                  <c:v>420.68282108132445</c:v>
                </c:pt>
                <c:pt idx="76">
                  <c:v>428.66899873243318</c:v>
                </c:pt>
                <c:pt idx="77">
                  <c:v>436.67218047963439</c:v>
                </c:pt>
                <c:pt idx="78">
                  <c:v>444.68293373288503</c:v>
                </c:pt>
                <c:pt idx="79">
                  <c:v>452.69184665418118</c:v>
                </c:pt>
                <c:pt idx="80">
                  <c:v>460.68957626982029</c:v>
                </c:pt>
                <c:pt idx="81">
                  <c:v>468.6668961542519</c:v>
                </c:pt>
                <c:pt idx="82">
                  <c:v>476.61474290973604</c:v>
                </c:pt>
                <c:pt idx="83">
                  <c:v>484.52426192758423</c:v>
                </c:pt>
                <c:pt idx="84">
                  <c:v>492.38685090808508</c:v>
                </c:pt>
                <c:pt idx="85">
                  <c:v>500.19420091532248</c:v>
                </c:pt>
                <c:pt idx="86">
                  <c:v>507.93833522081928</c:v>
                </c:pt>
                <c:pt idx="87">
                  <c:v>515.61164326861024</c:v>
                </c:pt>
                <c:pt idx="88">
                  <c:v>523.2069115940933</c:v>
                </c:pt>
                <c:pt idx="89">
                  <c:v>530.71735077416349</c:v>
                </c:pt>
                <c:pt idx="90">
                  <c:v>538.13661838547534</c:v>
                </c:pt>
                <c:pt idx="91">
                  <c:v>545.45883772382558</c:v>
                </c:pt>
                <c:pt idx="92">
                  <c:v>552.67861223618593</c:v>
                </c:pt>
                <c:pt idx="93">
                  <c:v>559.791035878663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0.00549659696929</c:v>
                </c:pt>
                <c:pt idx="32">
                  <c:v>173.85304524514578</c:v>
                </c:pt>
                <c:pt idx="33">
                  <c:v>177.54703587866746</c:v>
                </c:pt>
                <c:pt idx="34">
                  <c:v>181.19526785597924</c:v>
                </c:pt>
                <c:pt idx="35">
                  <c:v>184.87567678148872</c:v>
                </c:pt>
                <c:pt idx="36">
                  <c:v>188.63954697931305</c:v>
                </c:pt>
                <c:pt idx="37">
                  <c:v>192.51853932106175</c:v>
                </c:pt>
                <c:pt idx="38">
                  <c:v>196.53675159678377</c:v>
                </c:pt>
                <c:pt idx="39">
                  <c:v>200.71484909964178</c:v>
                </c:pt>
                <c:pt idx="40">
                  <c:v>205.07155320306217</c:v>
                </c:pt>
                <c:pt idx="41">
                  <c:v>209.62400725854343</c:v>
                </c:pt>
                <c:pt idx="42">
                  <c:v>214.3876383210773</c:v>
                </c:pt>
                <c:pt idx="43">
                  <c:v>219.37519080132958</c:v>
                </c:pt>
                <c:pt idx="44">
                  <c:v>224.59786048631148</c:v>
                </c:pt>
                <c:pt idx="45">
                  <c:v>230.06544474797684</c:v>
                </c:pt>
                <c:pt idx="46">
                  <c:v>235.78637786906546</c:v>
                </c:pt>
                <c:pt idx="47">
                  <c:v>241.76813457272641</c:v>
                </c:pt>
                <c:pt idx="48">
                  <c:v>248.01727412762918</c:v>
                </c:pt>
                <c:pt idx="49">
                  <c:v>254.53945402250778</c:v>
                </c:pt>
                <c:pt idx="50">
                  <c:v>261.33972625500991</c:v>
                </c:pt>
                <c:pt idx="51">
                  <c:v>268.42204845505472</c:v>
                </c:pt>
                <c:pt idx="52">
                  <c:v>275.78948861786807</c:v>
                </c:pt>
                <c:pt idx="53">
                  <c:v>283.44420409175399</c:v>
                </c:pt>
                <c:pt idx="54">
                  <c:v>291.38746234856308</c:v>
                </c:pt>
                <c:pt idx="55">
                  <c:v>299.61962216466873</c:v>
                </c:pt>
                <c:pt idx="56">
                  <c:v>308.14008393249418</c:v>
                </c:pt>
                <c:pt idx="57">
                  <c:v>316.94727299268737</c:v>
                </c:pt>
                <c:pt idx="58">
                  <c:v>326.03845637700135</c:v>
                </c:pt>
                <c:pt idx="59">
                  <c:v>335.40973942873364</c:v>
                </c:pt>
                <c:pt idx="60">
                  <c:v>345.05618802551453</c:v>
                </c:pt>
                <c:pt idx="61">
                  <c:v>354.97166776501592</c:v>
                </c:pt>
                <c:pt idx="62">
                  <c:v>365.14873464695717</c:v>
                </c:pt>
                <c:pt idx="63">
                  <c:v>375.57878104478073</c:v>
                </c:pt>
                <c:pt idx="64">
                  <c:v>386.25198007408773</c:v>
                </c:pt>
                <c:pt idx="65">
                  <c:v>397.15718833193205</c:v>
                </c:pt>
                <c:pt idx="66">
                  <c:v>408.28201791656295</c:v>
                </c:pt>
                <c:pt idx="67">
                  <c:v>419.61289346249055</c:v>
                </c:pt>
                <c:pt idx="68">
                  <c:v>431.13510973880835</c:v>
                </c:pt>
                <c:pt idx="69">
                  <c:v>442.8328964556668</c:v>
                </c:pt>
                <c:pt idx="70">
                  <c:v>454.69008363616842</c:v>
                </c:pt>
                <c:pt idx="71">
                  <c:v>466.69004668318991</c:v>
                </c:pt>
                <c:pt idx="72">
                  <c:v>478.81564242406466</c:v>
                </c:pt>
                <c:pt idx="73">
                  <c:v>491.049228693629</c:v>
                </c:pt>
                <c:pt idx="74">
                  <c:v>503.37272932873344</c:v>
                </c:pt>
                <c:pt idx="75">
                  <c:v>515.76772275512747</c:v>
                </c:pt>
                <c:pt idx="76">
                  <c:v>528.21554034065105</c:v>
                </c:pt>
                <c:pt idx="77">
                  <c:v>540.69736611835992</c:v>
                </c:pt>
                <c:pt idx="78">
                  <c:v>553.19433490816721</c:v>
                </c:pt>
                <c:pt idx="79">
                  <c:v>565.68762303406515</c:v>
                </c:pt>
                <c:pt idx="80">
                  <c:v>578.15854454864939</c:v>
                </c:pt>
                <c:pt idx="81">
                  <c:v>590.58864660081872</c:v>
                </c:pt>
                <c:pt idx="82">
                  <c:v>602.95980239509311</c:v>
                </c:pt>
                <c:pt idx="83">
                  <c:v>615.25430271409562</c:v>
                </c:pt>
                <c:pt idx="84">
                  <c:v>627.4549429584041</c:v>
                </c:pt>
                <c:pt idx="85">
                  <c:v>639.54510525618423</c:v>
                </c:pt>
                <c:pt idx="86">
                  <c:v>651.50883615048463</c:v>
                </c:pt>
                <c:pt idx="87">
                  <c:v>663.33091452937219</c:v>
                </c:pt>
                <c:pt idx="88">
                  <c:v>674.99691346364409</c:v>
                </c:pt>
                <c:pt idx="89">
                  <c:v>686.49325410709048</c:v>
                </c:pt>
                <c:pt idx="90">
                  <c:v>697.80725161302018</c:v>
                </c:pt>
                <c:pt idx="91">
                  <c:v>708.92715257302689</c:v>
                </c:pt>
                <c:pt idx="92">
                  <c:v>719.84216388105369</c:v>
                </c:pt>
                <c:pt idx="93">
                  <c:v>730.542473449315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8</c:v>
                </c:pt>
                <c:pt idx="1">
                  <c:v>17</c:v>
                </c:pt>
                <c:pt idx="2">
                  <c:v>26</c:v>
                </c:pt>
                <c:pt idx="3">
                  <c:v>28</c:v>
                </c:pt>
                <c:pt idx="4">
                  <c:v>34</c:v>
                </c:pt>
                <c:pt idx="5">
                  <c:v>37</c:v>
                </c:pt>
                <c:pt idx="6">
                  <c:v>46</c:v>
                </c:pt>
                <c:pt idx="7">
                  <c:v>48</c:v>
                </c:pt>
                <c:pt idx="8">
                  <c:v>51</c:v>
                </c:pt>
                <c:pt idx="9">
                  <c:v>54</c:v>
                </c:pt>
                <c:pt idx="10">
                  <c:v>61</c:v>
                </c:pt>
                <c:pt idx="11">
                  <c:v>69</c:v>
                </c:pt>
                <c:pt idx="12">
                  <c:v>71</c:v>
                </c:pt>
                <c:pt idx="13">
                  <c:v>75</c:v>
                </c:pt>
                <c:pt idx="14">
                  <c:v>79</c:v>
                </c:pt>
                <c:pt idx="15">
                  <c:v>80</c:v>
                </c:pt>
                <c:pt idx="16">
                  <c:v>83</c:v>
                </c:pt>
                <c:pt idx="17">
                  <c:v>86</c:v>
                </c:pt>
                <c:pt idx="18">
                  <c:v>88</c:v>
                </c:pt>
                <c:pt idx="19">
                  <c:v>92</c:v>
                </c:pt>
                <c:pt idx="20">
                  <c:v>98</c:v>
                </c:pt>
                <c:pt idx="21">
                  <c:v>98</c:v>
                </c:pt>
                <c:pt idx="22">
                  <c:v>99</c:v>
                </c:pt>
                <c:pt idx="23">
                  <c:v>101</c:v>
                </c:pt>
                <c:pt idx="24">
                  <c:v>102</c:v>
                </c:pt>
                <c:pt idx="25">
                  <c:v>104</c:v>
                </c:pt>
                <c:pt idx="26">
                  <c:v>106</c:v>
                </c:pt>
                <c:pt idx="27">
                  <c:v>109</c:v>
                </c:pt>
                <c:pt idx="28">
                  <c:v>117</c:v>
                </c:pt>
                <c:pt idx="29">
                  <c:v>120</c:v>
                </c:pt>
                <c:pt idx="30">
                  <c:v>124</c:v>
                </c:pt>
                <c:pt idx="31">
                  <c:v>127</c:v>
                </c:pt>
                <c:pt idx="32">
                  <c:v>128</c:v>
                </c:pt>
                <c:pt idx="33">
                  <c:v>130</c:v>
                </c:pt>
                <c:pt idx="34">
                  <c:v>132</c:v>
                </c:pt>
                <c:pt idx="35">
                  <c:v>137</c:v>
                </c:pt>
                <c:pt idx="36">
                  <c:v>145</c:v>
                </c:pt>
                <c:pt idx="37">
                  <c:v>149</c:v>
                </c:pt>
                <c:pt idx="38">
                  <c:v>150</c:v>
                </c:pt>
                <c:pt idx="39">
                  <c:v>151</c:v>
                </c:pt>
                <c:pt idx="40">
                  <c:v>152</c:v>
                </c:pt>
                <c:pt idx="41">
                  <c:v>154</c:v>
                </c:pt>
                <c:pt idx="42">
                  <c:v>158</c:v>
                </c:pt>
                <c:pt idx="43">
                  <c:v>160</c:v>
                </c:pt>
                <c:pt idx="44">
                  <c:v>165</c:v>
                </c:pt>
                <c:pt idx="45">
                  <c:v>167</c:v>
                </c:pt>
                <c:pt idx="46">
                  <c:v>168</c:v>
                </c:pt>
                <c:pt idx="47">
                  <c:v>169</c:v>
                </c:pt>
                <c:pt idx="48">
                  <c:v>172</c:v>
                </c:pt>
                <c:pt idx="49">
                  <c:v>173</c:v>
                </c:pt>
                <c:pt idx="50">
                  <c:v>175</c:v>
                </c:pt>
                <c:pt idx="51">
                  <c:v>177</c:v>
                </c:pt>
                <c:pt idx="52">
                  <c:v>179</c:v>
                </c:pt>
                <c:pt idx="53">
                  <c:v>180</c:v>
                </c:pt>
                <c:pt idx="54">
                  <c:v>182</c:v>
                </c:pt>
                <c:pt idx="55">
                  <c:v>183</c:v>
                </c:pt>
                <c:pt idx="56">
                  <c:v>183</c:v>
                </c:pt>
                <c:pt idx="57">
                  <c:v>185</c:v>
                </c:pt>
                <c:pt idx="58">
                  <c:v>189</c:v>
                </c:pt>
                <c:pt idx="59">
                  <c:v>190</c:v>
                </c:pt>
                <c:pt idx="60">
                  <c:v>194</c:v>
                </c:pt>
                <c:pt idx="61">
                  <c:v>197</c:v>
                </c:pt>
                <c:pt idx="62">
                  <c:v>200</c:v>
                </c:pt>
                <c:pt idx="63">
                  <c:v>204</c:v>
                </c:pt>
                <c:pt idx="64">
                  <c:v>204</c:v>
                </c:pt>
                <c:pt idx="65">
                  <c:v>206</c:v>
                </c:pt>
                <c:pt idx="66">
                  <c:v>209</c:v>
                </c:pt>
                <c:pt idx="67">
                  <c:v>211</c:v>
                </c:pt>
                <c:pt idx="68">
                  <c:v>212</c:v>
                </c:pt>
                <c:pt idx="69">
                  <c:v>214</c:v>
                </c:pt>
                <c:pt idx="70">
                  <c:v>217</c:v>
                </c:pt>
                <c:pt idx="71">
                  <c:v>218</c:v>
                </c:pt>
                <c:pt idx="72">
                  <c:v>220</c:v>
                </c:pt>
                <c:pt idx="73">
                  <c:v>221</c:v>
                </c:pt>
                <c:pt idx="74">
                  <c:v>223</c:v>
                </c:pt>
                <c:pt idx="75">
                  <c:v>228</c:v>
                </c:pt>
                <c:pt idx="76">
                  <c:v>233</c:v>
                </c:pt>
                <c:pt idx="77">
                  <c:v>235</c:v>
                </c:pt>
                <c:pt idx="78">
                  <c:v>238</c:v>
                </c:pt>
                <c:pt idx="79">
                  <c:v>241</c:v>
                </c:pt>
                <c:pt idx="80">
                  <c:v>243</c:v>
                </c:pt>
                <c:pt idx="81">
                  <c:v>244</c:v>
                </c:pt>
                <c:pt idx="82">
                  <c:v>246</c:v>
                </c:pt>
                <c:pt idx="83">
                  <c:v>247</c:v>
                </c:pt>
                <c:pt idx="84">
                  <c:v>247</c:v>
                </c:pt>
                <c:pt idx="85">
                  <c:v>248</c:v>
                </c:pt>
                <c:pt idx="86">
                  <c:v>249</c:v>
                </c:pt>
                <c:pt idx="87">
                  <c:v>250</c:v>
                </c:pt>
                <c:pt idx="88">
                  <c:v>253</c:v>
                </c:pt>
                <c:pt idx="89">
                  <c:v>255</c:v>
                </c:pt>
                <c:pt idx="90">
                  <c:v>255</c:v>
                </c:pt>
                <c:pt idx="91">
                  <c:v>257</c:v>
                </c:pt>
                <c:pt idx="92">
                  <c:v>258</c:v>
                </c:pt>
                <c:pt idx="93">
                  <c:v>2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26.64770114036952</c:v>
                </c:pt>
                <c:pt idx="32">
                  <c:v>129.19099600950312</c:v>
                </c:pt>
                <c:pt idx="33">
                  <c:v>131.63278642827169</c:v>
                </c:pt>
                <c:pt idx="34">
                  <c:v>133.97598386270704</c:v>
                </c:pt>
                <c:pt idx="35">
                  <c:v>136.22349972434282</c:v>
                </c:pt>
                <c:pt idx="36">
                  <c:v>138.38066706750004</c:v>
                </c:pt>
                <c:pt idx="37">
                  <c:v>140.45017816753315</c:v>
                </c:pt>
                <c:pt idx="38">
                  <c:v>142.43471421502773</c:v>
                </c:pt>
                <c:pt idx="39">
                  <c:v>144.33693899850772</c:v>
                </c:pt>
                <c:pt idx="40">
                  <c:v>146.15949324728828</c:v>
                </c:pt>
                <c:pt idx="41">
                  <c:v>147.92503157103764</c:v>
                </c:pt>
                <c:pt idx="42">
                  <c:v>149.65043796851236</c:v>
                </c:pt>
                <c:pt idx="43">
                  <c:v>151.34604772459724</c:v>
                </c:pt>
                <c:pt idx="44">
                  <c:v>153.01848910695688</c:v>
                </c:pt>
                <c:pt idx="45">
                  <c:v>154.67235217903141</c:v>
                </c:pt>
                <c:pt idx="46">
                  <c:v>156.31113418063597</c:v>
                </c:pt>
                <c:pt idx="47">
                  <c:v>157.93764911096105</c:v>
                </c:pt>
                <c:pt idx="48">
                  <c:v>159.5541717737261</c:v>
                </c:pt>
                <c:pt idx="49">
                  <c:v>161.16246196672782</c:v>
                </c:pt>
                <c:pt idx="50">
                  <c:v>162.76361182111148</c:v>
                </c:pt>
                <c:pt idx="51">
                  <c:v>164.35830806621695</c:v>
                </c:pt>
                <c:pt idx="52">
                  <c:v>165.94690344121278</c:v>
                </c:pt>
                <c:pt idx="53">
                  <c:v>167.52946029172458</c:v>
                </c:pt>
                <c:pt idx="54">
                  <c:v>169.10586089011463</c:v>
                </c:pt>
                <c:pt idx="55">
                  <c:v>170.67584455835944</c:v>
                </c:pt>
                <c:pt idx="56">
                  <c:v>172.23903893999463</c:v>
                </c:pt>
                <c:pt idx="57">
                  <c:v>173.79504145622428</c:v>
                </c:pt>
                <c:pt idx="58">
                  <c:v>175.34334508869708</c:v>
                </c:pt>
                <c:pt idx="59">
                  <c:v>176.88339860095422</c:v>
                </c:pt>
                <c:pt idx="60">
                  <c:v>178.41462226797091</c:v>
                </c:pt>
                <c:pt idx="61">
                  <c:v>179.93643029765641</c:v>
                </c:pt>
                <c:pt idx="62">
                  <c:v>181.44824341342124</c:v>
                </c:pt>
                <c:pt idx="63">
                  <c:v>182.94949470742171</c:v>
                </c:pt>
                <c:pt idx="64">
                  <c:v>184.43964135621547</c:v>
                </c:pt>
                <c:pt idx="65">
                  <c:v>185.91813940556622</c:v>
                </c:pt>
                <c:pt idx="66">
                  <c:v>187.38445354495261</c:v>
                </c:pt>
                <c:pt idx="67">
                  <c:v>188.8380904426748</c:v>
                </c:pt>
                <c:pt idx="68">
                  <c:v>190.2785740909481</c:v>
                </c:pt>
                <c:pt idx="69">
                  <c:v>191.70542972589413</c:v>
                </c:pt>
                <c:pt idx="70">
                  <c:v>193.1182725598166</c:v>
                </c:pt>
                <c:pt idx="71">
                  <c:v>194.51678447478201</c:v>
                </c:pt>
                <c:pt idx="72">
                  <c:v>195.90067460800876</c:v>
                </c:pt>
                <c:pt idx="73">
                  <c:v>197.26968004349638</c:v>
                </c:pt>
                <c:pt idx="74">
                  <c:v>198.62356593347877</c:v>
                </c:pt>
                <c:pt idx="75">
                  <c:v>199.96212533253274</c:v>
                </c:pt>
                <c:pt idx="76">
                  <c:v>201.28517866176949</c:v>
                </c:pt>
                <c:pt idx="77">
                  <c:v>202.5925725135468</c:v>
                </c:pt>
                <c:pt idx="78">
                  <c:v>203.88417790523388</c:v>
                </c:pt>
                <c:pt idx="79">
                  <c:v>205.15988763596212</c:v>
                </c:pt>
                <c:pt idx="80">
                  <c:v>206.41961432154989</c:v>
                </c:pt>
                <c:pt idx="81">
                  <c:v>207.66328859708062</c:v>
                </c:pt>
                <c:pt idx="82">
                  <c:v>208.89085745020154</c:v>
                </c:pt>
                <c:pt idx="83">
                  <c:v>210.10228287504037</c:v>
                </c:pt>
                <c:pt idx="84">
                  <c:v>211.29754062755015</c:v>
                </c:pt>
                <c:pt idx="85">
                  <c:v>212.47661915511654</c:v>
                </c:pt>
                <c:pt idx="86">
                  <c:v>213.63951880309182</c:v>
                </c:pt>
                <c:pt idx="87">
                  <c:v>214.78625081895555</c:v>
                </c:pt>
                <c:pt idx="88">
                  <c:v>215.91683659361129</c:v>
                </c:pt>
                <c:pt idx="89">
                  <c:v>217.03130698319146</c:v>
                </c:pt>
                <c:pt idx="90">
                  <c:v>218.12970173232412</c:v>
                </c:pt>
                <c:pt idx="91">
                  <c:v>219.2120689542817</c:v>
                </c:pt>
                <c:pt idx="92">
                  <c:v>220.27846466348987</c:v>
                </c:pt>
                <c:pt idx="93">
                  <c:v>221.328952398599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26.64770114036952</c:v>
                </c:pt>
                <c:pt idx="32">
                  <c:v>129.19099600950312</c:v>
                </c:pt>
                <c:pt idx="33">
                  <c:v>131.63278642827169</c:v>
                </c:pt>
                <c:pt idx="34">
                  <c:v>134.01015673121105</c:v>
                </c:pt>
                <c:pt idx="35">
                  <c:v>136.39145265532926</c:v>
                </c:pt>
                <c:pt idx="36">
                  <c:v>138.80033323724655</c:v>
                </c:pt>
                <c:pt idx="37">
                  <c:v>141.24726266334173</c:v>
                </c:pt>
                <c:pt idx="38">
                  <c:v>143.74020545744557</c:v>
                </c:pt>
                <c:pt idx="39">
                  <c:v>146.28599167407714</c:v>
                </c:pt>
                <c:pt idx="40">
                  <c:v>148.89080888580983</c:v>
                </c:pt>
                <c:pt idx="41">
                  <c:v>151.56032311559653</c:v>
                </c:pt>
                <c:pt idx="42">
                  <c:v>154.2996331358498</c:v>
                </c:pt>
                <c:pt idx="43">
                  <c:v>157.11295108229811</c:v>
                </c:pt>
                <c:pt idx="44">
                  <c:v>160.00397725742812</c:v>
                </c:pt>
                <c:pt idx="45">
                  <c:v>162.97594977569929</c:v>
                </c:pt>
                <c:pt idx="46">
                  <c:v>166.03165623903445</c:v>
                </c:pt>
                <c:pt idx="47">
                  <c:v>169.17356710677885</c:v>
                </c:pt>
                <c:pt idx="48">
                  <c:v>172.40385027281505</c:v>
                </c:pt>
                <c:pt idx="49">
                  <c:v>175.72437558511419</c:v>
                </c:pt>
                <c:pt idx="50">
                  <c:v>179.1368127717129</c:v>
                </c:pt>
                <c:pt idx="51">
                  <c:v>182.64246986283854</c:v>
                </c:pt>
                <c:pt idx="52">
                  <c:v>186.24236085691311</c:v>
                </c:pt>
                <c:pt idx="53">
                  <c:v>189.93719877583342</c:v>
                </c:pt>
                <c:pt idx="54">
                  <c:v>193.72740252978795</c:v>
                </c:pt>
                <c:pt idx="55">
                  <c:v>197.61309069740801</c:v>
                </c:pt>
                <c:pt idx="56">
                  <c:v>201.59406510330848</c:v>
                </c:pt>
                <c:pt idx="57">
                  <c:v>205.66980530922893</c:v>
                </c:pt>
                <c:pt idx="58">
                  <c:v>209.8394080460026</c:v>
                </c:pt>
                <c:pt idx="59">
                  <c:v>214.10158609658416</c:v>
                </c:pt>
                <c:pt idx="60">
                  <c:v>218.45470869171567</c:v>
                </c:pt>
                <c:pt idx="61">
                  <c:v>222.89674835944123</c:v>
                </c:pt>
                <c:pt idx="62">
                  <c:v>227.42524479458336</c:v>
                </c:pt>
                <c:pt idx="63">
                  <c:v>232.03735310361893</c:v>
                </c:pt>
                <c:pt idx="64">
                  <c:v>236.72982541797504</c:v>
                </c:pt>
                <c:pt idx="65">
                  <c:v>241.49897874854287</c:v>
                </c:pt>
                <c:pt idx="66">
                  <c:v>246.3407187888111</c:v>
                </c:pt>
                <c:pt idx="67">
                  <c:v>251.25055876544025</c:v>
                </c:pt>
                <c:pt idx="68">
                  <c:v>256.22363847499508</c:v>
                </c:pt>
                <c:pt idx="69">
                  <c:v>261.25474570303345</c:v>
                </c:pt>
                <c:pt idx="70">
                  <c:v>266.33853613515743</c:v>
                </c:pt>
                <c:pt idx="71">
                  <c:v>271.46951520113129</c:v>
                </c:pt>
                <c:pt idx="72">
                  <c:v>276.64201693710737</c:v>
                </c:pt>
                <c:pt idx="73">
                  <c:v>281.85021045798948</c:v>
                </c:pt>
                <c:pt idx="74">
                  <c:v>287.08812143866862</c:v>
                </c:pt>
                <c:pt idx="75">
                  <c:v>292.3496613927399</c:v>
                </c:pt>
                <c:pt idx="76">
                  <c:v>297.62866017906606</c:v>
                </c:pt>
                <c:pt idx="77">
                  <c:v>302.91889896111428</c:v>
                </c:pt>
                <c:pt idx="78">
                  <c:v>308.21414263699182</c:v>
                </c:pt>
                <c:pt idx="79">
                  <c:v>313.50816982225535</c:v>
                </c:pt>
                <c:pt idx="80">
                  <c:v>318.79480465293204</c:v>
                </c:pt>
                <c:pt idx="81">
                  <c:v>324.06794830535296</c:v>
                </c:pt>
                <c:pt idx="82">
                  <c:v>329.32160971999502</c:v>
                </c:pt>
                <c:pt idx="83">
                  <c:v>334.54993585043707</c:v>
                </c:pt>
                <c:pt idx="84">
                  <c:v>339.7472404307681</c:v>
                </c:pt>
                <c:pt idx="85">
                  <c:v>344.90803111351829</c:v>
                </c:pt>
                <c:pt idx="86">
                  <c:v>350.02703514596533</c:v>
                </c:pt>
                <c:pt idx="87">
                  <c:v>355.09922182162376</c:v>
                </c:pt>
                <c:pt idx="88">
                  <c:v>360.11982291812956</c:v>
                </c:pt>
                <c:pt idx="89">
                  <c:v>365.08435051173524</c:v>
                </c:pt>
                <c:pt idx="90">
                  <c:v>369.98861215311081</c:v>
                </c:pt>
                <c:pt idx="91">
                  <c:v>374.82872324117284</c:v>
                </c:pt>
                <c:pt idx="92">
                  <c:v>379.60111656290258</c:v>
                </c:pt>
                <c:pt idx="93">
                  <c:v>384.302549140133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26.64770114036952</c:v>
                </c:pt>
                <c:pt idx="32">
                  <c:v>129.19099600950312</c:v>
                </c:pt>
                <c:pt idx="33">
                  <c:v>131.63278642827169</c:v>
                </c:pt>
                <c:pt idx="34">
                  <c:v>134.04432959971507</c:v>
                </c:pt>
                <c:pt idx="35">
                  <c:v>136.47714227928913</c:v>
                </c:pt>
                <c:pt idx="36">
                  <c:v>138.96512427446115</c:v>
                </c:pt>
                <c:pt idx="37">
                  <c:v>141.52920395798995</c:v>
                </c:pt>
                <c:pt idx="38">
                  <c:v>144.18531037753502</c:v>
                </c:pt>
                <c:pt idx="39">
                  <c:v>146.94710364213606</c:v>
                </c:pt>
                <c:pt idx="40">
                  <c:v>149.82695889693937</c:v>
                </c:pt>
                <c:pt idx="41">
                  <c:v>152.8362081878507</c:v>
                </c:pt>
                <c:pt idx="42">
                  <c:v>155.98504905969514</c:v>
                </c:pt>
                <c:pt idx="43">
                  <c:v>159.28190578392969</c:v>
                </c:pt>
                <c:pt idx="44">
                  <c:v>162.73417896552789</c:v>
                </c:pt>
                <c:pt idx="45">
                  <c:v>166.34834483340839</c:v>
                </c:pt>
                <c:pt idx="46">
                  <c:v>170.12997859141612</c:v>
                </c:pt>
                <c:pt idx="47">
                  <c:v>174.08402115824285</c:v>
                </c:pt>
                <c:pt idx="48">
                  <c:v>178.21480832165315</c:v>
                </c:pt>
                <c:pt idx="49">
                  <c:v>182.52607977758987</c:v>
                </c:pt>
                <c:pt idx="50">
                  <c:v>187.02117498212519</c:v>
                </c:pt>
                <c:pt idx="51">
                  <c:v>191.70270999571412</c:v>
                </c:pt>
                <c:pt idx="52">
                  <c:v>196.5727128152009</c:v>
                </c:pt>
                <c:pt idx="53">
                  <c:v>201.63260948437971</c:v>
                </c:pt>
                <c:pt idx="54">
                  <c:v>206.88323782362642</c:v>
                </c:pt>
                <c:pt idx="55">
                  <c:v>212.32483499020472</c:v>
                </c:pt>
                <c:pt idx="56">
                  <c:v>217.95700463334356</c:v>
                </c:pt>
                <c:pt idx="57">
                  <c:v>223.77870587652211</c:v>
                </c:pt>
                <c:pt idx="58">
                  <c:v>229.7881321814076</c:v>
                </c:pt>
                <c:pt idx="59">
                  <c:v>235.98270911390861</c:v>
                </c:pt>
                <c:pt idx="60">
                  <c:v>242.35917513550953</c:v>
                </c:pt>
                <c:pt idx="61">
                  <c:v>248.91347530229856</c:v>
                </c:pt>
                <c:pt idx="62">
                  <c:v>255.64068900392076</c:v>
                </c:pt>
                <c:pt idx="63">
                  <c:v>262.53512645332955</c:v>
                </c:pt>
                <c:pt idx="64">
                  <c:v>269.59029191337999</c:v>
                </c:pt>
                <c:pt idx="65">
                  <c:v>276.79881940585335</c:v>
                </c:pt>
                <c:pt idx="66">
                  <c:v>284.15252031772803</c:v>
                </c:pt>
                <c:pt idx="67">
                  <c:v>291.64242110232425</c:v>
                </c:pt>
                <c:pt idx="68">
                  <c:v>299.25880135277157</c:v>
                </c:pt>
                <c:pt idx="69">
                  <c:v>306.99123664018646</c:v>
                </c:pt>
                <c:pt idx="70">
                  <c:v>314.82903833577228</c:v>
                </c:pt>
                <c:pt idx="71">
                  <c:v>322.76121729905771</c:v>
                </c:pt>
                <c:pt idx="72">
                  <c:v>330.7764416023478</c:v>
                </c:pt>
                <c:pt idx="73">
                  <c:v>338.86304947544966</c:v>
                </c:pt>
                <c:pt idx="74">
                  <c:v>347.00909226814582</c:v>
                </c:pt>
                <c:pt idx="75">
                  <c:v>355.2023930076266</c:v>
                </c:pt>
                <c:pt idx="76">
                  <c:v>363.43061141161678</c:v>
                </c:pt>
                <c:pt idx="77">
                  <c:v>371.68130980705143</c:v>
                </c:pt>
                <c:pt idx="78">
                  <c:v>379.94201799014439</c:v>
                </c:pt>
                <c:pt idx="79">
                  <c:v>388.20029319200916</c:v>
                </c:pt>
                <c:pt idx="80">
                  <c:v>396.44378368470046</c:v>
                </c:pt>
                <c:pt idx="81">
                  <c:v>404.66029182088016</c:v>
                </c:pt>
                <c:pt idx="82">
                  <c:v>412.83783548150222</c:v>
                </c:pt>
                <c:pt idx="83">
                  <c:v>420.96470857372418</c:v>
                </c:pt>
                <c:pt idx="84">
                  <c:v>429.02953856572469</c:v>
                </c:pt>
                <c:pt idx="85">
                  <c:v>437.02134076256243</c:v>
                </c:pt>
                <c:pt idx="86">
                  <c:v>444.92956965879489</c:v>
                </c:pt>
                <c:pt idx="87">
                  <c:v>452.74416384144939</c:v>
                </c:pt>
                <c:pt idx="88">
                  <c:v>460.45558686579864</c:v>
                </c:pt>
                <c:pt idx="89">
                  <c:v>468.05486288434793</c:v>
                </c:pt>
                <c:pt idx="90">
                  <c:v>475.53360699843705</c:v>
                </c:pt>
                <c:pt idx="91">
                  <c:v>482.8840500058991</c:v>
                </c:pt>
                <c:pt idx="92">
                  <c:v>490.0990574806965</c:v>
                </c:pt>
                <c:pt idx="93">
                  <c:v>497.17214346649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3</c:v>
                </c:pt>
                <c:pt idx="1">
                  <c:v>3</c:v>
                </c:pt>
                <c:pt idx="2">
                  <c:v>6</c:v>
                </c:pt>
                <c:pt idx="3">
                  <c:v>7</c:v>
                </c:pt>
                <c:pt idx="4">
                  <c:v>13</c:v>
                </c:pt>
                <c:pt idx="5">
                  <c:v>21</c:v>
                </c:pt>
                <c:pt idx="6">
                  <c:v>27</c:v>
                </c:pt>
                <c:pt idx="7">
                  <c:v>33</c:v>
                </c:pt>
                <c:pt idx="8">
                  <c:v>42</c:v>
                </c:pt>
                <c:pt idx="9">
                  <c:v>48</c:v>
                </c:pt>
                <c:pt idx="10">
                  <c:v>53</c:v>
                </c:pt>
                <c:pt idx="11">
                  <c:v>58</c:v>
                </c:pt>
                <c:pt idx="12">
                  <c:v>64</c:v>
                </c:pt>
                <c:pt idx="13">
                  <c:v>72</c:v>
                </c:pt>
                <c:pt idx="14">
                  <c:v>78</c:v>
                </c:pt>
                <c:pt idx="15">
                  <c:v>81</c:v>
                </c:pt>
                <c:pt idx="16">
                  <c:v>87</c:v>
                </c:pt>
                <c:pt idx="17">
                  <c:v>87</c:v>
                </c:pt>
                <c:pt idx="18">
                  <c:v>89</c:v>
                </c:pt>
                <c:pt idx="19">
                  <c:v>93</c:v>
                </c:pt>
                <c:pt idx="20">
                  <c:v>97</c:v>
                </c:pt>
                <c:pt idx="21">
                  <c:v>104</c:v>
                </c:pt>
                <c:pt idx="22">
                  <c:v>105</c:v>
                </c:pt>
                <c:pt idx="23">
                  <c:v>107</c:v>
                </c:pt>
                <c:pt idx="24">
                  <c:v>107</c:v>
                </c:pt>
                <c:pt idx="25">
                  <c:v>112</c:v>
                </c:pt>
                <c:pt idx="26">
                  <c:v>115</c:v>
                </c:pt>
                <c:pt idx="27">
                  <c:v>118</c:v>
                </c:pt>
                <c:pt idx="28">
                  <c:v>121</c:v>
                </c:pt>
                <c:pt idx="29">
                  <c:v>125</c:v>
                </c:pt>
                <c:pt idx="30">
                  <c:v>125</c:v>
                </c:pt>
                <c:pt idx="31">
                  <c:v>129</c:v>
                </c:pt>
                <c:pt idx="32">
                  <c:v>129</c:v>
                </c:pt>
                <c:pt idx="33">
                  <c:v>130</c:v>
                </c:pt>
                <c:pt idx="34">
                  <c:v>138</c:v>
                </c:pt>
                <c:pt idx="35">
                  <c:v>141</c:v>
                </c:pt>
                <c:pt idx="36">
                  <c:v>142</c:v>
                </c:pt>
                <c:pt idx="37">
                  <c:v>145</c:v>
                </c:pt>
                <c:pt idx="38">
                  <c:v>150</c:v>
                </c:pt>
                <c:pt idx="39">
                  <c:v>152</c:v>
                </c:pt>
                <c:pt idx="40">
                  <c:v>153</c:v>
                </c:pt>
                <c:pt idx="41">
                  <c:v>159</c:v>
                </c:pt>
                <c:pt idx="42">
                  <c:v>161</c:v>
                </c:pt>
                <c:pt idx="43">
                  <c:v>163</c:v>
                </c:pt>
                <c:pt idx="44">
                  <c:v>164</c:v>
                </c:pt>
                <c:pt idx="45">
                  <c:v>164</c:v>
                </c:pt>
                <c:pt idx="46">
                  <c:v>164</c:v>
                </c:pt>
                <c:pt idx="47">
                  <c:v>166</c:v>
                </c:pt>
                <c:pt idx="48">
                  <c:v>169</c:v>
                </c:pt>
                <c:pt idx="49">
                  <c:v>170</c:v>
                </c:pt>
                <c:pt idx="50">
                  <c:v>171</c:v>
                </c:pt>
                <c:pt idx="51">
                  <c:v>171</c:v>
                </c:pt>
                <c:pt idx="52">
                  <c:v>172</c:v>
                </c:pt>
                <c:pt idx="53">
                  <c:v>174</c:v>
                </c:pt>
                <c:pt idx="54">
                  <c:v>177</c:v>
                </c:pt>
                <c:pt idx="55">
                  <c:v>179</c:v>
                </c:pt>
                <c:pt idx="56">
                  <c:v>181</c:v>
                </c:pt>
                <c:pt idx="57">
                  <c:v>183</c:v>
                </c:pt>
                <c:pt idx="58">
                  <c:v>191</c:v>
                </c:pt>
                <c:pt idx="59">
                  <c:v>195</c:v>
                </c:pt>
                <c:pt idx="60">
                  <c:v>199</c:v>
                </c:pt>
                <c:pt idx="61">
                  <c:v>203</c:v>
                </c:pt>
                <c:pt idx="62">
                  <c:v>205</c:v>
                </c:pt>
                <c:pt idx="63">
                  <c:v>213</c:v>
                </c:pt>
                <c:pt idx="64">
                  <c:v>217</c:v>
                </c:pt>
                <c:pt idx="65">
                  <c:v>218</c:v>
                </c:pt>
                <c:pt idx="66">
                  <c:v>220</c:v>
                </c:pt>
                <c:pt idx="67">
                  <c:v>222</c:v>
                </c:pt>
                <c:pt idx="68">
                  <c:v>227</c:v>
                </c:pt>
                <c:pt idx="69">
                  <c:v>229</c:v>
                </c:pt>
                <c:pt idx="70">
                  <c:v>236</c:v>
                </c:pt>
                <c:pt idx="71">
                  <c:v>241</c:v>
                </c:pt>
                <c:pt idx="72">
                  <c:v>248</c:v>
                </c:pt>
                <c:pt idx="73">
                  <c:v>248</c:v>
                </c:pt>
                <c:pt idx="74">
                  <c:v>251</c:v>
                </c:pt>
                <c:pt idx="75">
                  <c:v>257</c:v>
                </c:pt>
                <c:pt idx="76">
                  <c:v>263</c:v>
                </c:pt>
                <c:pt idx="77">
                  <c:v>268</c:v>
                </c:pt>
                <c:pt idx="78">
                  <c:v>273</c:v>
                </c:pt>
                <c:pt idx="79">
                  <c:v>274</c:v>
                </c:pt>
                <c:pt idx="80">
                  <c:v>277</c:v>
                </c:pt>
                <c:pt idx="81">
                  <c:v>278</c:v>
                </c:pt>
                <c:pt idx="82">
                  <c:v>279</c:v>
                </c:pt>
                <c:pt idx="83">
                  <c:v>280</c:v>
                </c:pt>
                <c:pt idx="84">
                  <c:v>285</c:v>
                </c:pt>
                <c:pt idx="85">
                  <c:v>290</c:v>
                </c:pt>
                <c:pt idx="86">
                  <c:v>290</c:v>
                </c:pt>
                <c:pt idx="87">
                  <c:v>291</c:v>
                </c:pt>
                <c:pt idx="88">
                  <c:v>293</c:v>
                </c:pt>
                <c:pt idx="89">
                  <c:v>295</c:v>
                </c:pt>
                <c:pt idx="90">
                  <c:v>298</c:v>
                </c:pt>
                <c:pt idx="91">
                  <c:v>300</c:v>
                </c:pt>
                <c:pt idx="92">
                  <c:v>303</c:v>
                </c:pt>
                <c:pt idx="93">
                  <c:v>3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27.1724727305596</c:v>
                </c:pt>
                <c:pt idx="32">
                  <c:v>129.25927877702821</c:v>
                </c:pt>
                <c:pt idx="33">
                  <c:v>131.26279912063319</c:v>
                </c:pt>
                <c:pt idx="34">
                  <c:v>133.18542265658013</c:v>
                </c:pt>
                <c:pt idx="35">
                  <c:v>135.02953823535822</c:v>
                </c:pt>
                <c:pt idx="36">
                  <c:v>136.7995216964103</c:v>
                </c:pt>
                <c:pt idx="37">
                  <c:v>138.49758208618107</c:v>
                </c:pt>
                <c:pt idx="38">
                  <c:v>140.12591935592022</c:v>
                </c:pt>
                <c:pt idx="39">
                  <c:v>141.68671917826279</c:v>
                </c:pt>
                <c:pt idx="40">
                  <c:v>143.18214830546736</c:v>
                </c:pt>
                <c:pt idx="41">
                  <c:v>144.63079513521041</c:v>
                </c:pt>
                <c:pt idx="42">
                  <c:v>146.04651320493326</c:v>
                </c:pt>
                <c:pt idx="43">
                  <c:v>147.43778274838752</c:v>
                </c:pt>
                <c:pt idx="44">
                  <c:v>148.8100423441698</c:v>
                </c:pt>
                <c:pt idx="45">
                  <c:v>150.16705819817969</c:v>
                </c:pt>
                <c:pt idx="46">
                  <c:v>151.51169984052191</c:v>
                </c:pt>
                <c:pt idx="47">
                  <c:v>152.84627619360916</c:v>
                </c:pt>
                <c:pt idx="48">
                  <c:v>154.17265376305741</c:v>
                </c:pt>
                <c:pt idx="49">
                  <c:v>155.49227648552036</c:v>
                </c:pt>
                <c:pt idx="50">
                  <c:v>156.80604046860441</c:v>
                </c:pt>
                <c:pt idx="51">
                  <c:v>158.11450918253709</c:v>
                </c:pt>
                <c:pt idx="52">
                  <c:v>159.41797205432854</c:v>
                </c:pt>
                <c:pt idx="53">
                  <c:v>160.71648023936388</c:v>
                </c:pt>
                <c:pt idx="54">
                  <c:v>162.00993714060698</c:v>
                </c:pt>
                <c:pt idx="55">
                  <c:v>163.29812886839758</c:v>
                </c:pt>
                <c:pt idx="56">
                  <c:v>164.58074989948287</c:v>
                </c:pt>
                <c:pt idx="57">
                  <c:v>165.8574699127995</c:v>
                </c:pt>
                <c:pt idx="58">
                  <c:v>167.12787289329</c:v>
                </c:pt>
                <c:pt idx="59">
                  <c:v>168.39150654437279</c:v>
                </c:pt>
                <c:pt idx="60">
                  <c:v>169.64789519423263</c:v>
                </c:pt>
                <c:pt idx="61">
                  <c:v>170.89655819294893</c:v>
                </c:pt>
                <c:pt idx="62">
                  <c:v>172.1370202366534</c:v>
                </c:pt>
                <c:pt idx="63">
                  <c:v>173.36881617019225</c:v>
                </c:pt>
                <c:pt idx="64">
                  <c:v>174.59150059997177</c:v>
                </c:pt>
                <c:pt idx="65">
                  <c:v>175.80462720456725</c:v>
                </c:pt>
                <c:pt idx="66">
                  <c:v>177.007756754833</c:v>
                </c:pt>
                <c:pt idx="67">
                  <c:v>178.20048446578454</c:v>
                </c:pt>
                <c:pt idx="68">
                  <c:v>179.38241976693186</c:v>
                </c:pt>
                <c:pt idx="69">
                  <c:v>180.55317310842602</c:v>
                </c:pt>
                <c:pt idx="70">
                  <c:v>181.71242876702908</c:v>
                </c:pt>
                <c:pt idx="71">
                  <c:v>182.85992572289814</c:v>
                </c:pt>
                <c:pt idx="72">
                  <c:v>183.99542531939187</c:v>
                </c:pt>
                <c:pt idx="73">
                  <c:v>185.11871183056121</c:v>
                </c:pt>
                <c:pt idx="74">
                  <c:v>186.22959256080316</c:v>
                </c:pt>
                <c:pt idx="75">
                  <c:v>187.32789770874487</c:v>
                </c:pt>
                <c:pt idx="76">
                  <c:v>188.41347992760581</c:v>
                </c:pt>
                <c:pt idx="77">
                  <c:v>189.48621334444874</c:v>
                </c:pt>
                <c:pt idx="78">
                  <c:v>190.54599212737148</c:v>
                </c:pt>
                <c:pt idx="79">
                  <c:v>191.59272831668696</c:v>
                </c:pt>
                <c:pt idx="80">
                  <c:v>192.62635021255383</c:v>
                </c:pt>
                <c:pt idx="81">
                  <c:v>193.64680090016878</c:v>
                </c:pt>
                <c:pt idx="82">
                  <c:v>194.65403688221673</c:v>
                </c:pt>
                <c:pt idx="83">
                  <c:v>195.6480269743922</c:v>
                </c:pt>
                <c:pt idx="84">
                  <c:v>196.62875128414382</c:v>
                </c:pt>
                <c:pt idx="85">
                  <c:v>197.59620033240341</c:v>
                </c:pt>
                <c:pt idx="86">
                  <c:v>198.55037440253699</c:v>
                </c:pt>
                <c:pt idx="87">
                  <c:v>199.49128272324569</c:v>
                </c:pt>
                <c:pt idx="88">
                  <c:v>200.41894284604012</c:v>
                </c:pt>
                <c:pt idx="89">
                  <c:v>201.33338008877257</c:v>
                </c:pt>
                <c:pt idx="90">
                  <c:v>202.23462706241989</c:v>
                </c:pt>
                <c:pt idx="91">
                  <c:v>203.12272324453895</c:v>
                </c:pt>
                <c:pt idx="92">
                  <c:v>203.9977145956841</c:v>
                </c:pt>
                <c:pt idx="93">
                  <c:v>204.859653250132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27.1724727305596</c:v>
                </c:pt>
                <c:pt idx="32">
                  <c:v>129.25927877702821</c:v>
                </c:pt>
                <c:pt idx="33">
                  <c:v>131.26279912063319</c:v>
                </c:pt>
                <c:pt idx="34">
                  <c:v>133.21346193330137</c:v>
                </c:pt>
                <c:pt idx="35">
                  <c:v>135.16734576847529</c:v>
                </c:pt>
                <c:pt idx="36">
                  <c:v>137.14386316902281</c:v>
                </c:pt>
                <c:pt idx="37">
                  <c:v>139.15160013402399</c:v>
                </c:pt>
                <c:pt idx="38">
                  <c:v>141.19709165739124</c:v>
                </c:pt>
                <c:pt idx="39">
                  <c:v>143.28594188642228</c:v>
                </c:pt>
                <c:pt idx="40">
                  <c:v>145.42322780374141</c:v>
                </c:pt>
                <c:pt idx="41">
                  <c:v>147.61359845382282</c:v>
                </c:pt>
                <c:pt idx="42">
                  <c:v>149.86123744479985</c:v>
                </c:pt>
                <c:pt idx="43">
                  <c:v>152.1696008880395</c:v>
                </c:pt>
                <c:pt idx="44">
                  <c:v>154.54172492917183</c:v>
                </c:pt>
                <c:pt idx="45">
                  <c:v>156.9802664826251</c:v>
                </c:pt>
                <c:pt idx="46">
                  <c:v>159.48751281151547</c:v>
                </c:pt>
                <c:pt idx="47">
                  <c:v>162.06549095940832</c:v>
                </c:pt>
                <c:pt idx="48">
                  <c:v>164.71597971102776</c:v>
                </c:pt>
                <c:pt idx="49">
                  <c:v>167.44051330060654</c:v>
                </c:pt>
                <c:pt idx="50">
                  <c:v>170.24046176140547</c:v>
                </c:pt>
                <c:pt idx="51">
                  <c:v>173.11689834899573</c:v>
                </c:pt>
                <c:pt idx="52">
                  <c:v>176.07065506208255</c:v>
                </c:pt>
                <c:pt idx="53">
                  <c:v>179.10231694427358</c:v>
                </c:pt>
                <c:pt idx="54">
                  <c:v>182.21222771674908</c:v>
                </c:pt>
                <c:pt idx="55">
                  <c:v>185.40048467479633</c:v>
                </c:pt>
                <c:pt idx="56">
                  <c:v>188.66692521297108</c:v>
                </c:pt>
                <c:pt idx="57">
                  <c:v>192.01112230500837</c:v>
                </c:pt>
                <c:pt idx="58">
                  <c:v>195.43233480697651</c:v>
                </c:pt>
                <c:pt idx="59">
                  <c:v>198.929506540787</c:v>
                </c:pt>
                <c:pt idx="60">
                  <c:v>202.50129943935644</c:v>
                </c:pt>
                <c:pt idx="61">
                  <c:v>206.14604993595179</c:v>
                </c:pt>
                <c:pt idx="62">
                  <c:v>209.86173931863252</c:v>
                </c:pt>
                <c:pt idx="63">
                  <c:v>213.64603331578991</c:v>
                </c:pt>
                <c:pt idx="64">
                  <c:v>217.49626700962057</c:v>
                </c:pt>
                <c:pt idx="65">
                  <c:v>221.40941846034289</c:v>
                </c:pt>
                <c:pt idx="66">
                  <c:v>225.38212823697324</c:v>
                </c:pt>
                <c:pt idx="67">
                  <c:v>229.41071488446383</c:v>
                </c:pt>
                <c:pt idx="68">
                  <c:v>233.49119054358576</c:v>
                </c:pt>
                <c:pt idx="69">
                  <c:v>237.61927852556596</c:v>
                </c:pt>
                <c:pt idx="70">
                  <c:v>241.79059375192406</c:v>
                </c:pt>
                <c:pt idx="71">
                  <c:v>246.00062785733851</c:v>
                </c:pt>
                <c:pt idx="72">
                  <c:v>250.24473184583172</c:v>
                </c:pt>
                <c:pt idx="73">
                  <c:v>254.51812140142729</c:v>
                </c:pt>
                <c:pt idx="74">
                  <c:v>258.81589451377937</c:v>
                </c:pt>
                <c:pt idx="75">
                  <c:v>263.13305550173533</c:v>
                </c:pt>
                <c:pt idx="76">
                  <c:v>267.46454168538753</c:v>
                </c:pt>
                <c:pt idx="77">
                  <c:v>271.80525042963222</c:v>
                </c:pt>
                <c:pt idx="78">
                  <c:v>276.1500657534292</c:v>
                </c:pt>
                <c:pt idx="79">
                  <c:v>280.49388293108137</c:v>
                </c:pt>
                <c:pt idx="80">
                  <c:v>284.8316345870212</c:v>
                </c:pt>
                <c:pt idx="81">
                  <c:v>289.15831655823837</c:v>
                </c:pt>
                <c:pt idx="82">
                  <c:v>293.46901310358572</c:v>
                </c:pt>
                <c:pt idx="83">
                  <c:v>297.75892172343561</c:v>
                </c:pt>
                <c:pt idx="84">
                  <c:v>302.02337676370723</c:v>
                </c:pt>
                <c:pt idx="85">
                  <c:v>306.25787168288684</c:v>
                </c:pt>
                <c:pt idx="86">
                  <c:v>310.45808011976646</c:v>
                </c:pt>
                <c:pt idx="87">
                  <c:v>314.61987431517849</c:v>
                </c:pt>
                <c:pt idx="88">
                  <c:v>318.7393418815422</c:v>
                </c:pt>
                <c:pt idx="89">
                  <c:v>322.81280041988532</c:v>
                </c:pt>
                <c:pt idx="90">
                  <c:v>326.83680997178323</c:v>
                </c:pt>
                <c:pt idx="91">
                  <c:v>330.80818317224441</c:v>
                </c:pt>
                <c:pt idx="92">
                  <c:v>334.72399307725345</c:v>
                </c:pt>
                <c:pt idx="93">
                  <c:v>338.581578781648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27.1724727305596</c:v>
                </c:pt>
                <c:pt idx="32">
                  <c:v>129.25927877702821</c:v>
                </c:pt>
                <c:pt idx="33">
                  <c:v>131.26279912063319</c:v>
                </c:pt>
                <c:pt idx="34">
                  <c:v>133.24150121002262</c:v>
                </c:pt>
                <c:pt idx="35">
                  <c:v>135.23765520351927</c:v>
                </c:pt>
                <c:pt idx="36">
                  <c:v>137.27907632776297</c:v>
                </c:pt>
                <c:pt idx="37">
                  <c:v>139.38293658091479</c:v>
                </c:pt>
                <c:pt idx="38">
                  <c:v>141.56230595079793</c:v>
                </c:pt>
                <c:pt idx="39">
                  <c:v>143.82839273200906</c:v>
                </c:pt>
                <c:pt idx="40">
                  <c:v>146.19135088979638</c:v>
                </c:pt>
                <c:pt idx="41">
                  <c:v>148.66047851310825</c:v>
                </c:pt>
                <c:pt idx="42">
                  <c:v>151.24414281821137</c:v>
                </c:pt>
                <c:pt idx="43">
                  <c:v>153.94925602783971</c:v>
                </c:pt>
                <c:pt idx="44">
                  <c:v>156.78189043325364</c:v>
                </c:pt>
                <c:pt idx="45">
                  <c:v>159.74735986330941</c:v>
                </c:pt>
                <c:pt idx="46">
                  <c:v>162.85023884423885</c:v>
                </c:pt>
                <c:pt idx="47">
                  <c:v>166.0945814631736</c:v>
                </c:pt>
                <c:pt idx="48">
                  <c:v>169.48394528956155</c:v>
                </c:pt>
                <c:pt idx="49">
                  <c:v>173.02139879186859</c:v>
                </c:pt>
                <c:pt idx="50">
                  <c:v>176.7096820366155</c:v>
                </c:pt>
                <c:pt idx="51">
                  <c:v>180.55094153494488</c:v>
                </c:pt>
                <c:pt idx="52">
                  <c:v>184.54684128426737</c:v>
                </c:pt>
                <c:pt idx="53">
                  <c:v>188.69855137179871</c:v>
                </c:pt>
                <c:pt idx="54">
                  <c:v>193.00675923989857</c:v>
                </c:pt>
                <c:pt idx="55">
                  <c:v>197.47165947914232</c:v>
                </c:pt>
                <c:pt idx="56">
                  <c:v>202.09292687864087</c:v>
                </c:pt>
                <c:pt idx="57">
                  <c:v>206.8697073858643</c:v>
                </c:pt>
                <c:pt idx="58">
                  <c:v>211.80051871294984</c:v>
                </c:pt>
                <c:pt idx="59">
                  <c:v>216.8832485037199</c:v>
                </c:pt>
                <c:pt idx="60">
                  <c:v>222.11522062400783</c:v>
                </c:pt>
                <c:pt idx="61">
                  <c:v>227.49310794034756</c:v>
                </c:pt>
                <c:pt idx="62">
                  <c:v>233.01287302885805</c:v>
                </c:pt>
                <c:pt idx="63">
                  <c:v>238.66984734632166</c:v>
                </c:pt>
                <c:pt idx="64">
                  <c:v>244.45870105713226</c:v>
                </c:pt>
                <c:pt idx="65">
                  <c:v>250.37339028172579</c:v>
                </c:pt>
                <c:pt idx="66">
                  <c:v>256.40719615813578</c:v>
                </c:pt>
                <c:pt idx="67">
                  <c:v>262.552755776266</c:v>
                </c:pt>
                <c:pt idx="68">
                  <c:v>268.80209341765868</c:v>
                </c:pt>
                <c:pt idx="69">
                  <c:v>275.14665570476836</c:v>
                </c:pt>
                <c:pt idx="70">
                  <c:v>281.57767248063362</c:v>
                </c:pt>
                <c:pt idx="71">
                  <c:v>288.08612701461141</c:v>
                </c:pt>
                <c:pt idx="72">
                  <c:v>294.66272131474688</c:v>
                </c:pt>
                <c:pt idx="73">
                  <c:v>301.29788674908684</c:v>
                </c:pt>
                <c:pt idx="74">
                  <c:v>307.9818192969401</c:v>
                </c:pt>
                <c:pt idx="75">
                  <c:v>314.70452759600124</c:v>
                </c:pt>
                <c:pt idx="76">
                  <c:v>321.4558862864547</c:v>
                </c:pt>
                <c:pt idx="77">
                  <c:v>328.22569009809342</c:v>
                </c:pt>
                <c:pt idx="78">
                  <c:v>335.00370706883638</c:v>
                </c:pt>
                <c:pt idx="79">
                  <c:v>341.77972774728948</c:v>
                </c:pt>
                <c:pt idx="80">
                  <c:v>348.54361738231825</c:v>
                </c:pt>
                <c:pt idx="81">
                  <c:v>355.28536764790158</c:v>
                </c:pt>
                <c:pt idx="82">
                  <c:v>361.99514706174529</c:v>
                </c:pt>
                <c:pt idx="83">
                  <c:v>368.6633506245941</c:v>
                </c:pt>
                <c:pt idx="84">
                  <c:v>375.28064702828686</c:v>
                </c:pt>
                <c:pt idx="85">
                  <c:v>381.83802318979474</c:v>
                </c:pt>
                <c:pt idx="86">
                  <c:v>388.32682638670343</c:v>
                </c:pt>
                <c:pt idx="87">
                  <c:v>394.73880110067637</c:v>
                </c:pt>
                <c:pt idx="88">
                  <c:v>401.06612255655267</c:v>
                </c:pt>
                <c:pt idx="89">
                  <c:v>407.30142595638802</c:v>
                </c:pt>
                <c:pt idx="90">
                  <c:v>413.43783138333293</c:v>
                </c:pt>
                <c:pt idx="91">
                  <c:v>419.46896410740436</c:v>
                </c:pt>
                <c:pt idx="92">
                  <c:v>425.3889702405715</c:v>
                </c:pt>
                <c:pt idx="93">
                  <c:v>431.19252797250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6</c:v>
                </c:pt>
                <c:pt idx="1">
                  <c:v>7</c:v>
                </c:pt>
                <c:pt idx="2">
                  <c:v>9</c:v>
                </c:pt>
                <c:pt idx="3">
                  <c:v>13</c:v>
                </c:pt>
                <c:pt idx="4">
                  <c:v>13</c:v>
                </c:pt>
                <c:pt idx="5">
                  <c:v>15</c:v>
                </c:pt>
                <c:pt idx="6">
                  <c:v>17</c:v>
                </c:pt>
                <c:pt idx="7">
                  <c:v>21</c:v>
                </c:pt>
                <c:pt idx="8">
                  <c:v>24</c:v>
                </c:pt>
                <c:pt idx="9">
                  <c:v>29</c:v>
                </c:pt>
                <c:pt idx="10">
                  <c:v>36</c:v>
                </c:pt>
                <c:pt idx="11">
                  <c:v>41</c:v>
                </c:pt>
                <c:pt idx="12">
                  <c:v>44</c:v>
                </c:pt>
                <c:pt idx="13">
                  <c:v>45</c:v>
                </c:pt>
                <c:pt idx="14">
                  <c:v>46</c:v>
                </c:pt>
                <c:pt idx="15">
                  <c:v>50</c:v>
                </c:pt>
                <c:pt idx="16">
                  <c:v>54</c:v>
                </c:pt>
                <c:pt idx="17">
                  <c:v>54</c:v>
                </c:pt>
                <c:pt idx="18">
                  <c:v>55</c:v>
                </c:pt>
                <c:pt idx="19">
                  <c:v>55</c:v>
                </c:pt>
                <c:pt idx="20">
                  <c:v>56</c:v>
                </c:pt>
                <c:pt idx="21">
                  <c:v>58</c:v>
                </c:pt>
                <c:pt idx="22">
                  <c:v>61</c:v>
                </c:pt>
                <c:pt idx="23">
                  <c:v>64</c:v>
                </c:pt>
                <c:pt idx="24">
                  <c:v>67</c:v>
                </c:pt>
                <c:pt idx="25">
                  <c:v>70</c:v>
                </c:pt>
                <c:pt idx="26">
                  <c:v>73</c:v>
                </c:pt>
                <c:pt idx="27">
                  <c:v>75</c:v>
                </c:pt>
                <c:pt idx="28">
                  <c:v>76</c:v>
                </c:pt>
                <c:pt idx="29">
                  <c:v>78</c:v>
                </c:pt>
                <c:pt idx="30">
                  <c:v>80</c:v>
                </c:pt>
                <c:pt idx="31">
                  <c:v>80</c:v>
                </c:pt>
                <c:pt idx="32">
                  <c:v>81</c:v>
                </c:pt>
                <c:pt idx="33">
                  <c:v>82</c:v>
                </c:pt>
                <c:pt idx="34">
                  <c:v>84</c:v>
                </c:pt>
                <c:pt idx="35">
                  <c:v>84</c:v>
                </c:pt>
                <c:pt idx="36">
                  <c:v>86</c:v>
                </c:pt>
                <c:pt idx="37">
                  <c:v>88</c:v>
                </c:pt>
                <c:pt idx="38">
                  <c:v>90</c:v>
                </c:pt>
                <c:pt idx="39">
                  <c:v>92</c:v>
                </c:pt>
                <c:pt idx="40">
                  <c:v>93</c:v>
                </c:pt>
                <c:pt idx="41">
                  <c:v>95</c:v>
                </c:pt>
                <c:pt idx="42">
                  <c:v>95</c:v>
                </c:pt>
                <c:pt idx="43">
                  <c:v>96</c:v>
                </c:pt>
                <c:pt idx="44">
                  <c:v>97</c:v>
                </c:pt>
                <c:pt idx="45">
                  <c:v>99</c:v>
                </c:pt>
                <c:pt idx="46">
                  <c:v>100</c:v>
                </c:pt>
                <c:pt idx="47">
                  <c:v>101</c:v>
                </c:pt>
                <c:pt idx="48">
                  <c:v>101</c:v>
                </c:pt>
                <c:pt idx="49">
                  <c:v>103</c:v>
                </c:pt>
                <c:pt idx="50">
                  <c:v>103</c:v>
                </c:pt>
                <c:pt idx="51">
                  <c:v>105</c:v>
                </c:pt>
                <c:pt idx="52">
                  <c:v>105</c:v>
                </c:pt>
                <c:pt idx="53">
                  <c:v>105</c:v>
                </c:pt>
                <c:pt idx="54">
                  <c:v>105</c:v>
                </c:pt>
                <c:pt idx="55">
                  <c:v>106</c:v>
                </c:pt>
                <c:pt idx="56">
                  <c:v>107</c:v>
                </c:pt>
                <c:pt idx="57">
                  <c:v>107</c:v>
                </c:pt>
                <c:pt idx="58">
                  <c:v>107</c:v>
                </c:pt>
                <c:pt idx="59">
                  <c:v>107</c:v>
                </c:pt>
                <c:pt idx="60">
                  <c:v>108</c:v>
                </c:pt>
                <c:pt idx="61">
                  <c:v>108</c:v>
                </c:pt>
                <c:pt idx="62">
                  <c:v>111</c:v>
                </c:pt>
                <c:pt idx="63">
                  <c:v>111</c:v>
                </c:pt>
                <c:pt idx="64">
                  <c:v>112</c:v>
                </c:pt>
                <c:pt idx="65">
                  <c:v>112</c:v>
                </c:pt>
                <c:pt idx="66">
                  <c:v>117</c:v>
                </c:pt>
                <c:pt idx="67">
                  <c:v>117</c:v>
                </c:pt>
                <c:pt idx="68">
                  <c:v>118</c:v>
                </c:pt>
                <c:pt idx="69">
                  <c:v>119</c:v>
                </c:pt>
                <c:pt idx="70">
                  <c:v>120</c:v>
                </c:pt>
                <c:pt idx="71">
                  <c:v>122</c:v>
                </c:pt>
                <c:pt idx="72">
                  <c:v>123</c:v>
                </c:pt>
                <c:pt idx="73">
                  <c:v>124</c:v>
                </c:pt>
                <c:pt idx="74">
                  <c:v>125</c:v>
                </c:pt>
                <c:pt idx="75">
                  <c:v>125</c:v>
                </c:pt>
                <c:pt idx="76">
                  <c:v>127</c:v>
                </c:pt>
                <c:pt idx="77">
                  <c:v>127</c:v>
                </c:pt>
                <c:pt idx="78">
                  <c:v>128</c:v>
                </c:pt>
                <c:pt idx="79">
                  <c:v>128</c:v>
                </c:pt>
                <c:pt idx="80">
                  <c:v>128</c:v>
                </c:pt>
                <c:pt idx="81">
                  <c:v>129</c:v>
                </c:pt>
                <c:pt idx="82">
                  <c:v>130</c:v>
                </c:pt>
                <c:pt idx="83">
                  <c:v>131</c:v>
                </c:pt>
                <c:pt idx="84">
                  <c:v>131</c:v>
                </c:pt>
                <c:pt idx="85">
                  <c:v>133</c:v>
                </c:pt>
                <c:pt idx="86">
                  <c:v>134</c:v>
                </c:pt>
                <c:pt idx="87">
                  <c:v>135</c:v>
                </c:pt>
                <c:pt idx="88">
                  <c:v>137</c:v>
                </c:pt>
                <c:pt idx="89">
                  <c:v>138</c:v>
                </c:pt>
                <c:pt idx="90">
                  <c:v>138</c:v>
                </c:pt>
                <c:pt idx="91">
                  <c:v>139</c:v>
                </c:pt>
                <c:pt idx="92">
                  <c:v>139</c:v>
                </c:pt>
                <c:pt idx="93">
                  <c:v>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80.731189207164689</c:v>
                </c:pt>
                <c:pt idx="32">
                  <c:v>82.394112775444356</c:v>
                </c:pt>
                <c:pt idx="33">
                  <c:v>83.990668049254566</c:v>
                </c:pt>
                <c:pt idx="34">
                  <c:v>85.522758679462285</c:v>
                </c:pt>
                <c:pt idx="35">
                  <c:v>86.992288281301072</c:v>
                </c:pt>
                <c:pt idx="36">
                  <c:v>88.402743851826955</c:v>
                </c:pt>
                <c:pt idx="37">
                  <c:v>89.755885724925534</c:v>
                </c:pt>
                <c:pt idx="38">
                  <c:v>91.053466986748901</c:v>
                </c:pt>
                <c:pt idx="39">
                  <c:v>92.297229345178124</c:v>
                </c:pt>
                <c:pt idx="40">
                  <c:v>93.488899430919261</c:v>
                </c:pt>
                <c:pt idx="41">
                  <c:v>94.643289873370762</c:v>
                </c:pt>
                <c:pt idx="42">
                  <c:v>95.771440210181169</c:v>
                </c:pt>
                <c:pt idx="43">
                  <c:v>96.88010812762127</c:v>
                </c:pt>
                <c:pt idx="44">
                  <c:v>97.97362749301027</c:v>
                </c:pt>
                <c:pt idx="45">
                  <c:v>99.054999501674388</c:v>
                </c:pt>
                <c:pt idx="46">
                  <c:v>100.12651081041584</c:v>
                </c:pt>
                <c:pt idx="47">
                  <c:v>101.19000134178224</c:v>
                </c:pt>
                <c:pt idx="48">
                  <c:v>102.24695846743631</c:v>
                </c:pt>
                <c:pt idx="49">
                  <c:v>103.29853282439898</c:v>
                </c:pt>
                <c:pt idx="50">
                  <c:v>104.34543849841907</c:v>
                </c:pt>
                <c:pt idx="51">
                  <c:v>105.38812450483418</c:v>
                </c:pt>
                <c:pt idx="52">
                  <c:v>106.426821480793</c:v>
                </c:pt>
                <c:pt idx="53">
                  <c:v>107.46157019074302</c:v>
                </c:pt>
                <c:pt idx="54">
                  <c:v>108.49229365892113</c:v>
                </c:pt>
                <c:pt idx="55">
                  <c:v>109.51882144200428</c:v>
                </c:pt>
                <c:pt idx="56">
                  <c:v>110.54091007615037</c:v>
                </c:pt>
                <c:pt idx="57">
                  <c:v>111.55829633676206</c:v>
                </c:pt>
                <c:pt idx="58">
                  <c:v>112.57064871184042</c:v>
                </c:pt>
                <c:pt idx="59">
                  <c:v>113.577606777547</c:v>
                </c:pt>
                <c:pt idx="60">
                  <c:v>114.57879148290407</c:v>
                </c:pt>
                <c:pt idx="61">
                  <c:v>115.57381981000613</c:v>
                </c:pt>
                <c:pt idx="62">
                  <c:v>116.56231300108313</c:v>
                </c:pt>
                <c:pt idx="63">
                  <c:v>117.54390038562188</c:v>
                </c:pt>
                <c:pt idx="64">
                  <c:v>118.51822704060243</c:v>
                </c:pt>
                <c:pt idx="65">
                  <c:v>119.48493730363946</c:v>
                </c:pt>
                <c:pt idx="66">
                  <c:v>120.44368116400747</c:v>
                </c:pt>
                <c:pt idx="67">
                  <c:v>121.39413605867199</c:v>
                </c:pt>
                <c:pt idx="68">
                  <c:v>122.33599075177376</c:v>
                </c:pt>
                <c:pt idx="69">
                  <c:v>123.26893482077693</c:v>
                </c:pt>
                <c:pt idx="70">
                  <c:v>124.19271667372625</c:v>
                </c:pt>
                <c:pt idx="71">
                  <c:v>125.10712831043442</c:v>
                </c:pt>
                <c:pt idx="72">
                  <c:v>126.01197955139037</c:v>
                </c:pt>
                <c:pt idx="73">
                  <c:v>126.90709848997844</c:v>
                </c:pt>
                <c:pt idx="74">
                  <c:v>127.79233157189</c:v>
                </c:pt>
                <c:pt idx="75">
                  <c:v>128.66754348665606</c:v>
                </c:pt>
                <c:pt idx="76">
                  <c:v>129.53261681731087</c:v>
                </c:pt>
                <c:pt idx="77">
                  <c:v>130.38745125885757</c:v>
                </c:pt>
                <c:pt idx="78">
                  <c:v>131.23196247649912</c:v>
                </c:pt>
                <c:pt idx="79">
                  <c:v>132.0660803773599</c:v>
                </c:pt>
                <c:pt idx="80">
                  <c:v>132.8897478256288</c:v>
                </c:pt>
                <c:pt idx="81">
                  <c:v>133.70291946732198</c:v>
                </c:pt>
                <c:pt idx="82">
                  <c:v>134.50556064051642</c:v>
                </c:pt>
                <c:pt idx="83">
                  <c:v>135.29764649521874</c:v>
                </c:pt>
                <c:pt idx="84">
                  <c:v>136.07916117955205</c:v>
                </c:pt>
                <c:pt idx="85">
                  <c:v>136.8500971398839</c:v>
                </c:pt>
                <c:pt idx="86">
                  <c:v>137.61045460202158</c:v>
                </c:pt>
                <c:pt idx="87">
                  <c:v>138.36024092008634</c:v>
                </c:pt>
                <c:pt idx="88">
                  <c:v>139.09947008043815</c:v>
                </c:pt>
                <c:pt idx="89">
                  <c:v>139.82816225824055</c:v>
                </c:pt>
                <c:pt idx="90">
                  <c:v>140.54634344036575</c:v>
                </c:pt>
                <c:pt idx="91">
                  <c:v>141.25404508549187</c:v>
                </c:pt>
                <c:pt idx="92">
                  <c:v>141.95130381843566</c:v>
                </c:pt>
                <c:pt idx="93">
                  <c:v>142.63816118369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80.731189207164689</c:v>
                </c:pt>
                <c:pt idx="32">
                  <c:v>82.394112775444356</c:v>
                </c:pt>
                <c:pt idx="33">
                  <c:v>83.990668049254566</c:v>
                </c:pt>
                <c:pt idx="34">
                  <c:v>85.545102478099537</c:v>
                </c:pt>
                <c:pt idx="35">
                  <c:v>87.102103659253743</c:v>
                </c:pt>
                <c:pt idx="36">
                  <c:v>88.677140962815059</c:v>
                </c:pt>
                <c:pt idx="37">
                  <c:v>90.277056356800372</c:v>
                </c:pt>
                <c:pt idx="38">
                  <c:v>91.907057414483646</c:v>
                </c:pt>
                <c:pt idx="39">
                  <c:v>93.571609940742746</c:v>
                </c:pt>
                <c:pt idx="40">
                  <c:v>95.274759656106426</c:v>
                </c:pt>
                <c:pt idx="41">
                  <c:v>97.020211267890048</c:v>
                </c:pt>
                <c:pt idx="42">
                  <c:v>98.811298588824869</c:v>
                </c:pt>
                <c:pt idx="43">
                  <c:v>100.65077570765646</c:v>
                </c:pt>
                <c:pt idx="44">
                  <c:v>102.54106205293378</c:v>
                </c:pt>
                <c:pt idx="45">
                  <c:v>104.48427485334184</c:v>
                </c:pt>
                <c:pt idx="46">
                  <c:v>106.48223677167637</c:v>
                </c:pt>
                <c:pt idx="47">
                  <c:v>108.53656310827849</c:v>
                </c:pt>
                <c:pt idx="48">
                  <c:v>110.64867133222523</c:v>
                </c:pt>
                <c:pt idx="49">
                  <c:v>112.81978403642083</c:v>
                </c:pt>
                <c:pt idx="50">
                  <c:v>115.05099296611998</c:v>
                </c:pt>
                <c:pt idx="51">
                  <c:v>117.34315337185598</c:v>
                </c:pt>
                <c:pt idx="52">
                  <c:v>119.69692825259703</c:v>
                </c:pt>
                <c:pt idx="53">
                  <c:v>122.11278381496801</c:v>
                </c:pt>
                <c:pt idx="54">
                  <c:v>124.59099396178442</c:v>
                </c:pt>
                <c:pt idx="55">
                  <c:v>127.13163622522831</c:v>
                </c:pt>
                <c:pt idx="56">
                  <c:v>129.73458102908631</c:v>
                </c:pt>
                <c:pt idx="57">
                  <c:v>132.39948808680353</c:v>
                </c:pt>
                <c:pt idx="58">
                  <c:v>135.12576679930939</c:v>
                </c:pt>
                <c:pt idx="59">
                  <c:v>137.91257552468963</c:v>
                </c:pt>
                <c:pt idx="60">
                  <c:v>140.75884799073714</c:v>
                </c:pt>
                <c:pt idx="61">
                  <c:v>143.66325854271156</c:v>
                </c:pt>
                <c:pt idx="62">
                  <c:v>146.62419851953527</c:v>
                </c:pt>
                <c:pt idx="63">
                  <c:v>149.63980779852005</c:v>
                </c:pt>
                <c:pt idx="64">
                  <c:v>152.70796277329137</c:v>
                </c:pt>
                <c:pt idx="65">
                  <c:v>155.82625533558573</c:v>
                </c:pt>
                <c:pt idx="66">
                  <c:v>158.99200843883804</c:v>
                </c:pt>
                <c:pt idx="67">
                  <c:v>162.20228842355709</c:v>
                </c:pt>
                <c:pt idx="68">
                  <c:v>165.45391746441987</c:v>
                </c:pt>
                <c:pt idx="69">
                  <c:v>168.74348757506036</c:v>
                </c:pt>
                <c:pt idx="70">
                  <c:v>172.06750439606446</c:v>
                </c:pt>
                <c:pt idx="71">
                  <c:v>175.4223753238166</c:v>
                </c:pt>
                <c:pt idx="72">
                  <c:v>178.80439568964712</c:v>
                </c:pt>
                <c:pt idx="73">
                  <c:v>182.20975299176234</c:v>
                </c:pt>
                <c:pt idx="74">
                  <c:v>185.63454094066793</c:v>
                </c:pt>
                <c:pt idx="75">
                  <c:v>189.07477860294532</c:v>
                </c:pt>
                <c:pt idx="76">
                  <c:v>192.52643165554318</c:v>
                </c:pt>
                <c:pt idx="77">
                  <c:v>195.9854339361132</c:v>
                </c:pt>
                <c:pt idx="78">
                  <c:v>199.44770864726388</c:v>
                </c:pt>
                <c:pt idx="79">
                  <c:v>202.90918796070542</c:v>
                </c:pt>
                <c:pt idx="80">
                  <c:v>206.3658338115325</c:v>
                </c:pt>
                <c:pt idx="81">
                  <c:v>209.81365850734616</c:v>
                </c:pt>
                <c:pt idx="82">
                  <c:v>213.24874481691981</c:v>
                </c:pt>
                <c:pt idx="83">
                  <c:v>216.66726574836267</c:v>
                </c:pt>
                <c:pt idx="84">
                  <c:v>220.06550335857912</c:v>
                </c:pt>
                <c:pt idx="85">
                  <c:v>223.43986649730039</c:v>
                </c:pt>
                <c:pt idx="86">
                  <c:v>226.78690759543883</c:v>
                </c:pt>
                <c:pt idx="87">
                  <c:v>230.1033373449078</c:v>
                </c:pt>
                <c:pt idx="88">
                  <c:v>233.3860380618539</c:v>
                </c:pt>
                <c:pt idx="89">
                  <c:v>236.63207533459607</c:v>
                </c:pt>
                <c:pt idx="90">
                  <c:v>239.83870794626472</c:v>
                </c:pt>
                <c:pt idx="91">
                  <c:v>243.00339596538223</c:v>
                </c:pt>
                <c:pt idx="92">
                  <c:v>246.12380698343628</c:v>
                </c:pt>
                <c:pt idx="93">
                  <c:v>249.19782059162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80.731189207164689</c:v>
                </c:pt>
                <c:pt idx="32">
                  <c:v>82.394112775444356</c:v>
                </c:pt>
                <c:pt idx="33">
                  <c:v>83.990668049254566</c:v>
                </c:pt>
                <c:pt idx="34">
                  <c:v>85.567446276736774</c:v>
                </c:pt>
                <c:pt idx="35">
                  <c:v>87.158131490304427</c:v>
                </c:pt>
                <c:pt idx="36">
                  <c:v>88.784888948686131</c:v>
                </c:pt>
                <c:pt idx="37">
                  <c:v>90.461402587916496</c:v>
                </c:pt>
                <c:pt idx="38">
                  <c:v>92.198087554542113</c:v>
                </c:pt>
                <c:pt idx="39">
                  <c:v>94.003875458319726</c:v>
                </c:pt>
                <c:pt idx="40">
                  <c:v>95.88685774030651</c:v>
                </c:pt>
                <c:pt idx="41">
                  <c:v>97.854443815133152</c:v>
                </c:pt>
                <c:pt idx="42">
                  <c:v>99.913301308262206</c:v>
                </c:pt>
                <c:pt idx="43">
                  <c:v>102.06893839718479</c:v>
                </c:pt>
                <c:pt idx="44">
                  <c:v>104.32619393899901</c:v>
                </c:pt>
                <c:pt idx="45">
                  <c:v>106.68930239107472</c:v>
                </c:pt>
                <c:pt idx="46">
                  <c:v>109.16190907900285</c:v>
                </c:pt>
                <c:pt idx="47">
                  <c:v>111.74724460346648</c:v>
                </c:pt>
                <c:pt idx="48">
                  <c:v>114.44814390261938</c:v>
                </c:pt>
                <c:pt idx="49">
                  <c:v>117.2670521622703</c:v>
                </c:pt>
                <c:pt idx="50">
                  <c:v>120.206152872928</c:v>
                </c:pt>
                <c:pt idx="51">
                  <c:v>123.26715653565923</c:v>
                </c:pt>
                <c:pt idx="52">
                  <c:v>126.45138914840058</c:v>
                </c:pt>
                <c:pt idx="53">
                  <c:v>129.75978312440211</c:v>
                </c:pt>
                <c:pt idx="54">
                  <c:v>133.19288626929418</c:v>
                </c:pt>
                <c:pt idx="55">
                  <c:v>136.75085364744155</c:v>
                </c:pt>
                <c:pt idx="56">
                  <c:v>140.43342610641693</c:v>
                </c:pt>
                <c:pt idx="57">
                  <c:v>144.23992307311062</c:v>
                </c:pt>
                <c:pt idx="58">
                  <c:v>148.1691633493819</c:v>
                </c:pt>
                <c:pt idx="59">
                  <c:v>152.21946365140178</c:v>
                </c:pt>
                <c:pt idx="60">
                  <c:v>156.38869143475623</c:v>
                </c:pt>
                <c:pt idx="61">
                  <c:v>160.67419538996444</c:v>
                </c:pt>
                <c:pt idx="62">
                  <c:v>165.07275819487126</c:v>
                </c:pt>
                <c:pt idx="63">
                  <c:v>169.58065960410008</c:v>
                </c:pt>
                <c:pt idx="64">
                  <c:v>174.19365240490225</c:v>
                </c:pt>
                <c:pt idx="65">
                  <c:v>178.90692038075022</c:v>
                </c:pt>
                <c:pt idx="66">
                  <c:v>183.71510943851442</c:v>
                </c:pt>
                <c:pt idx="67">
                  <c:v>188.61235225921195</c:v>
                </c:pt>
                <c:pt idx="68">
                  <c:v>193.59229319219676</c:v>
                </c:pt>
                <c:pt idx="69">
                  <c:v>198.64811626473727</c:v>
                </c:pt>
                <c:pt idx="70">
                  <c:v>203.77283275800491</c:v>
                </c:pt>
                <c:pt idx="71">
                  <c:v>208.95925746476843</c:v>
                </c:pt>
                <c:pt idx="72">
                  <c:v>214.19998104768885</c:v>
                </c:pt>
                <c:pt idx="73">
                  <c:v>219.48737850317852</c:v>
                </c:pt>
                <c:pt idx="74">
                  <c:v>224.81363725224907</c:v>
                </c:pt>
                <c:pt idx="75">
                  <c:v>230.17079542806343</c:v>
                </c:pt>
                <c:pt idx="76">
                  <c:v>235.55078438451855</c:v>
                </c:pt>
                <c:pt idx="77">
                  <c:v>240.94547179691813</c:v>
                </c:pt>
                <c:pt idx="78">
                  <c:v>246.34670407047892</c:v>
                </c:pt>
                <c:pt idx="79">
                  <c:v>251.74634554862126</c:v>
                </c:pt>
                <c:pt idx="80">
                  <c:v>257.13632010153481</c:v>
                </c:pt>
                <c:pt idx="81">
                  <c:v>262.50865234442153</c:v>
                </c:pt>
                <c:pt idx="82">
                  <c:v>267.85550781482823</c:v>
                </c:pt>
                <c:pt idx="83">
                  <c:v>273.16923252897334</c:v>
                </c:pt>
                <c:pt idx="84">
                  <c:v>278.44239060066599</c:v>
                </c:pt>
                <c:pt idx="85">
                  <c:v>283.66779972936757</c:v>
                </c:pt>
                <c:pt idx="86">
                  <c:v>288.83856477690421</c:v>
                </c:pt>
                <c:pt idx="87">
                  <c:v>293.94810712710137</c:v>
                </c:pt>
                <c:pt idx="88">
                  <c:v>298.99019141225278</c:v>
                </c:pt>
                <c:pt idx="89">
                  <c:v>303.95894880899658</c:v>
                </c:pt>
                <c:pt idx="90">
                  <c:v>308.84889688359328</c:v>
                </c:pt>
                <c:pt idx="91">
                  <c:v>313.65495577308769</c:v>
                </c:pt>
                <c:pt idx="92">
                  <c:v>318.3724606604552</c:v>
                </c:pt>
                <c:pt idx="93">
                  <c:v>322.997170728093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4</c:v>
                </c:pt>
                <c:pt idx="1">
                  <c:v>6</c:v>
                </c:pt>
                <c:pt idx="2">
                  <c:v>12</c:v>
                </c:pt>
                <c:pt idx="3">
                  <c:v>16</c:v>
                </c:pt>
                <c:pt idx="4">
                  <c:v>20</c:v>
                </c:pt>
                <c:pt idx="5">
                  <c:v>23</c:v>
                </c:pt>
                <c:pt idx="6">
                  <c:v>27</c:v>
                </c:pt>
                <c:pt idx="7">
                  <c:v>30</c:v>
                </c:pt>
                <c:pt idx="8">
                  <c:v>33</c:v>
                </c:pt>
                <c:pt idx="9">
                  <c:v>40</c:v>
                </c:pt>
                <c:pt idx="10">
                  <c:v>48</c:v>
                </c:pt>
                <c:pt idx="11">
                  <c:v>52</c:v>
                </c:pt>
                <c:pt idx="12">
                  <c:v>55</c:v>
                </c:pt>
                <c:pt idx="13">
                  <c:v>56</c:v>
                </c:pt>
                <c:pt idx="14">
                  <c:v>59</c:v>
                </c:pt>
                <c:pt idx="15">
                  <c:v>67</c:v>
                </c:pt>
                <c:pt idx="16">
                  <c:v>71</c:v>
                </c:pt>
                <c:pt idx="17">
                  <c:v>71</c:v>
                </c:pt>
                <c:pt idx="18">
                  <c:v>74</c:v>
                </c:pt>
                <c:pt idx="19">
                  <c:v>80</c:v>
                </c:pt>
                <c:pt idx="20">
                  <c:v>84</c:v>
                </c:pt>
                <c:pt idx="21">
                  <c:v>85</c:v>
                </c:pt>
                <c:pt idx="22">
                  <c:v>95</c:v>
                </c:pt>
                <c:pt idx="23">
                  <c:v>95</c:v>
                </c:pt>
                <c:pt idx="24">
                  <c:v>98</c:v>
                </c:pt>
                <c:pt idx="25">
                  <c:v>100</c:v>
                </c:pt>
                <c:pt idx="26">
                  <c:v>103</c:v>
                </c:pt>
                <c:pt idx="27">
                  <c:v>107</c:v>
                </c:pt>
                <c:pt idx="28">
                  <c:v>109</c:v>
                </c:pt>
                <c:pt idx="29">
                  <c:v>111</c:v>
                </c:pt>
                <c:pt idx="30">
                  <c:v>113</c:v>
                </c:pt>
                <c:pt idx="31">
                  <c:v>114</c:v>
                </c:pt>
                <c:pt idx="32">
                  <c:v>117</c:v>
                </c:pt>
                <c:pt idx="33">
                  <c:v>119</c:v>
                </c:pt>
                <c:pt idx="34">
                  <c:v>124</c:v>
                </c:pt>
                <c:pt idx="35">
                  <c:v>125</c:v>
                </c:pt>
                <c:pt idx="36">
                  <c:v>126</c:v>
                </c:pt>
                <c:pt idx="37">
                  <c:v>127</c:v>
                </c:pt>
                <c:pt idx="38">
                  <c:v>128</c:v>
                </c:pt>
                <c:pt idx="39">
                  <c:v>128</c:v>
                </c:pt>
                <c:pt idx="40">
                  <c:v>129</c:v>
                </c:pt>
                <c:pt idx="41">
                  <c:v>131</c:v>
                </c:pt>
                <c:pt idx="42">
                  <c:v>133</c:v>
                </c:pt>
                <c:pt idx="43">
                  <c:v>134</c:v>
                </c:pt>
                <c:pt idx="44">
                  <c:v>137</c:v>
                </c:pt>
                <c:pt idx="45">
                  <c:v>137</c:v>
                </c:pt>
                <c:pt idx="46">
                  <c:v>138</c:v>
                </c:pt>
                <c:pt idx="47">
                  <c:v>141</c:v>
                </c:pt>
                <c:pt idx="48">
                  <c:v>143</c:v>
                </c:pt>
                <c:pt idx="49">
                  <c:v>144</c:v>
                </c:pt>
                <c:pt idx="50">
                  <c:v>144</c:v>
                </c:pt>
                <c:pt idx="51">
                  <c:v>145</c:v>
                </c:pt>
                <c:pt idx="52">
                  <c:v>145</c:v>
                </c:pt>
                <c:pt idx="53">
                  <c:v>146</c:v>
                </c:pt>
                <c:pt idx="54">
                  <c:v>148</c:v>
                </c:pt>
                <c:pt idx="55">
                  <c:v>149</c:v>
                </c:pt>
                <c:pt idx="56">
                  <c:v>150</c:v>
                </c:pt>
                <c:pt idx="57">
                  <c:v>153</c:v>
                </c:pt>
                <c:pt idx="58">
                  <c:v>155</c:v>
                </c:pt>
                <c:pt idx="59">
                  <c:v>156</c:v>
                </c:pt>
                <c:pt idx="60">
                  <c:v>156</c:v>
                </c:pt>
                <c:pt idx="61">
                  <c:v>156</c:v>
                </c:pt>
                <c:pt idx="62">
                  <c:v>159</c:v>
                </c:pt>
                <c:pt idx="63">
                  <c:v>160</c:v>
                </c:pt>
                <c:pt idx="64">
                  <c:v>162</c:v>
                </c:pt>
                <c:pt idx="65">
                  <c:v>163</c:v>
                </c:pt>
                <c:pt idx="66">
                  <c:v>164</c:v>
                </c:pt>
                <c:pt idx="67">
                  <c:v>165</c:v>
                </c:pt>
                <c:pt idx="68">
                  <c:v>167</c:v>
                </c:pt>
                <c:pt idx="69">
                  <c:v>168</c:v>
                </c:pt>
                <c:pt idx="70">
                  <c:v>170</c:v>
                </c:pt>
                <c:pt idx="71">
                  <c:v>174</c:v>
                </c:pt>
                <c:pt idx="72">
                  <c:v>178</c:v>
                </c:pt>
                <c:pt idx="73">
                  <c:v>179</c:v>
                </c:pt>
                <c:pt idx="74">
                  <c:v>179</c:v>
                </c:pt>
                <c:pt idx="75">
                  <c:v>181</c:v>
                </c:pt>
                <c:pt idx="76">
                  <c:v>185</c:v>
                </c:pt>
                <c:pt idx="77">
                  <c:v>190</c:v>
                </c:pt>
                <c:pt idx="78">
                  <c:v>191</c:v>
                </c:pt>
                <c:pt idx="79">
                  <c:v>191</c:v>
                </c:pt>
                <c:pt idx="80">
                  <c:v>192</c:v>
                </c:pt>
                <c:pt idx="81">
                  <c:v>194</c:v>
                </c:pt>
                <c:pt idx="82">
                  <c:v>196</c:v>
                </c:pt>
                <c:pt idx="83">
                  <c:v>197</c:v>
                </c:pt>
                <c:pt idx="84">
                  <c:v>198</c:v>
                </c:pt>
                <c:pt idx="85">
                  <c:v>199</c:v>
                </c:pt>
                <c:pt idx="86">
                  <c:v>200</c:v>
                </c:pt>
                <c:pt idx="87">
                  <c:v>201</c:v>
                </c:pt>
                <c:pt idx="88">
                  <c:v>204</c:v>
                </c:pt>
                <c:pt idx="89">
                  <c:v>204</c:v>
                </c:pt>
                <c:pt idx="90">
                  <c:v>206</c:v>
                </c:pt>
                <c:pt idx="91">
                  <c:v>206</c:v>
                </c:pt>
                <c:pt idx="92">
                  <c:v>207</c:v>
                </c:pt>
                <c:pt idx="93">
                  <c:v>2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13.88394119603217</c:v>
                </c:pt>
                <c:pt idx="32">
                  <c:v>115.69359331445416</c:v>
                </c:pt>
                <c:pt idx="33">
                  <c:v>117.43102111242411</c:v>
                </c:pt>
                <c:pt idx="34">
                  <c:v>119.0982962100031</c:v>
                </c:pt>
                <c:pt idx="35">
                  <c:v>120.69749018847472</c:v>
                </c:pt>
                <c:pt idx="36">
                  <c:v>122.23239772110583</c:v>
                </c:pt>
                <c:pt idx="37">
                  <c:v>123.70493446536015</c:v>
                </c:pt>
                <c:pt idx="38">
                  <c:v>125.11700819146206</c:v>
                </c:pt>
                <c:pt idx="39">
                  <c:v>126.47051428739975</c:v>
                </c:pt>
                <c:pt idx="40">
                  <c:v>127.76733173364747</c:v>
                </c:pt>
                <c:pt idx="41">
                  <c:v>129.02358015631526</c:v>
                </c:pt>
                <c:pt idx="42">
                  <c:v>130.25127316990304</c:v>
                </c:pt>
                <c:pt idx="43">
                  <c:v>131.45776472711728</c:v>
                </c:pt>
                <c:pt idx="44">
                  <c:v>132.64777109533472</c:v>
                </c:pt>
                <c:pt idx="45">
                  <c:v>133.82455828123392</c:v>
                </c:pt>
                <c:pt idx="46">
                  <c:v>134.99061470545257</c:v>
                </c:pt>
                <c:pt idx="47">
                  <c:v>136.14794263664541</c:v>
                </c:pt>
                <c:pt idx="48">
                  <c:v>137.29816068515132</c:v>
                </c:pt>
                <c:pt idx="49">
                  <c:v>138.44252101478716</c:v>
                </c:pt>
                <c:pt idx="50">
                  <c:v>139.58180071886784</c:v>
                </c:pt>
                <c:pt idx="51">
                  <c:v>140.71648843173134</c:v>
                </c:pt>
                <c:pt idx="52">
                  <c:v>141.84683514086299</c:v>
                </c:pt>
                <c:pt idx="53">
                  <c:v>142.97288520757331</c:v>
                </c:pt>
                <c:pt idx="54">
                  <c:v>144.09455486412008</c:v>
                </c:pt>
                <c:pt idx="55">
                  <c:v>145.2116586280635</c:v>
                </c:pt>
                <c:pt idx="56">
                  <c:v>146.32393155345778</c:v>
                </c:pt>
                <c:pt idx="57">
                  <c:v>147.4310871900058</c:v>
                </c:pt>
                <c:pt idx="58">
                  <c:v>148.53276477464991</c:v>
                </c:pt>
                <c:pt idx="59">
                  <c:v>149.62857208144825</c:v>
                </c:pt>
                <c:pt idx="60">
                  <c:v>150.71809661374857</c:v>
                </c:pt>
                <c:pt idx="61">
                  <c:v>151.80092155794787</c:v>
                </c:pt>
                <c:pt idx="62">
                  <c:v>152.87663473647285</c:v>
                </c:pt>
                <c:pt idx="63">
                  <c:v>153.94483277258857</c:v>
                </c:pt>
                <c:pt idx="64">
                  <c:v>155.00512942653799</c:v>
                </c:pt>
                <c:pt idx="65">
                  <c:v>156.05713765396064</c:v>
                </c:pt>
                <c:pt idx="66">
                  <c:v>157.10047656083171</c:v>
                </c:pt>
                <c:pt idx="67">
                  <c:v>158.1347951226725</c:v>
                </c:pt>
                <c:pt idx="68">
                  <c:v>159.1597546416362</c:v>
                </c:pt>
                <c:pt idx="69">
                  <c:v>160.17501730496318</c:v>
                </c:pt>
                <c:pt idx="70">
                  <c:v>161.18030932140803</c:v>
                </c:pt>
                <c:pt idx="71">
                  <c:v>162.17540433782574</c:v>
                </c:pt>
                <c:pt idx="72">
                  <c:v>163.16009539416015</c:v>
                </c:pt>
                <c:pt idx="73">
                  <c:v>164.13419541556482</c:v>
                </c:pt>
                <c:pt idx="74">
                  <c:v>165.09753729882152</c:v>
                </c:pt>
                <c:pt idx="75">
                  <c:v>166.04997379430222</c:v>
                </c:pt>
                <c:pt idx="76">
                  <c:v>166.99137712472069</c:v>
                </c:pt>
                <c:pt idx="77">
                  <c:v>167.92163813463915</c:v>
                </c:pt>
                <c:pt idx="78">
                  <c:v>168.84066504795496</c:v>
                </c:pt>
                <c:pt idx="79">
                  <c:v>169.74838158712697</c:v>
                </c:pt>
                <c:pt idx="80">
                  <c:v>170.64472557494904</c:v>
                </c:pt>
                <c:pt idx="81">
                  <c:v>171.52964765561515</c:v>
                </c:pt>
                <c:pt idx="82">
                  <c:v>172.40311010879734</c:v>
                </c:pt>
                <c:pt idx="83">
                  <c:v>173.26508589185573</c:v>
                </c:pt>
                <c:pt idx="84">
                  <c:v>174.11555775421846</c:v>
                </c:pt>
                <c:pt idx="85">
                  <c:v>174.95451747575606</c:v>
                </c:pt>
                <c:pt idx="86">
                  <c:v>175.78196530220001</c:v>
                </c:pt>
                <c:pt idx="87">
                  <c:v>176.59790923656459</c:v>
                </c:pt>
                <c:pt idx="88">
                  <c:v>177.4023644993004</c:v>
                </c:pt>
                <c:pt idx="89">
                  <c:v>178.19535304573245</c:v>
                </c:pt>
                <c:pt idx="90">
                  <c:v>178.97690315569221</c:v>
                </c:pt>
                <c:pt idx="91">
                  <c:v>179.74704906362356</c:v>
                </c:pt>
                <c:pt idx="92">
                  <c:v>180.50583062594475</c:v>
                </c:pt>
                <c:pt idx="93">
                  <c:v>181.253293052849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13.88394119603217</c:v>
                </c:pt>
                <c:pt idx="32">
                  <c:v>115.69359331445416</c:v>
                </c:pt>
                <c:pt idx="33">
                  <c:v>117.43102111242411</c:v>
                </c:pt>
                <c:pt idx="34">
                  <c:v>119.12261152028481</c:v>
                </c:pt>
                <c:pt idx="35">
                  <c:v>120.81699515859968</c:v>
                </c:pt>
                <c:pt idx="36">
                  <c:v>122.53100634188699</c:v>
                </c:pt>
                <c:pt idx="37">
                  <c:v>124.27209074122396</c:v>
                </c:pt>
                <c:pt idx="38">
                  <c:v>126.045915421644</c:v>
                </c:pt>
                <c:pt idx="39">
                  <c:v>127.85734022963184</c:v>
                </c:pt>
                <c:pt idx="40">
                  <c:v>129.71076786105704</c:v>
                </c:pt>
                <c:pt idx="41">
                  <c:v>131.61022990917451</c:v>
                </c:pt>
                <c:pt idx="42">
                  <c:v>133.55935434666239</c:v>
                </c:pt>
                <c:pt idx="43">
                  <c:v>135.56113827009676</c:v>
                </c:pt>
                <c:pt idx="44">
                  <c:v>137.61821458701621</c:v>
                </c:pt>
                <c:pt idx="45">
                  <c:v>139.73288734040148</c:v>
                </c:pt>
                <c:pt idx="46">
                  <c:v>141.9071400162361</c:v>
                </c:pt>
                <c:pt idx="47">
                  <c:v>144.14273044136192</c:v>
                </c:pt>
                <c:pt idx="48">
                  <c:v>146.4412011556569</c:v>
                </c:pt>
                <c:pt idx="49">
                  <c:v>148.80388262786974</c:v>
                </c:pt>
                <c:pt idx="50">
                  <c:v>151.23196293371882</c:v>
                </c:pt>
                <c:pt idx="51">
                  <c:v>153.72637278701976</c:v>
                </c:pt>
                <c:pt idx="52">
                  <c:v>156.28783368664972</c:v>
                </c:pt>
                <c:pt idx="53">
                  <c:v>158.91685297511225</c:v>
                </c:pt>
                <c:pt idx="54">
                  <c:v>161.61372872311836</c:v>
                </c:pt>
                <c:pt idx="55">
                  <c:v>164.37854530392494</c:v>
                </c:pt>
                <c:pt idx="56">
                  <c:v>167.21116170812334</c:v>
                </c:pt>
                <c:pt idx="57">
                  <c:v>170.11120762387444</c:v>
                </c:pt>
                <c:pt idx="58">
                  <c:v>173.07804034042493</c:v>
                </c:pt>
                <c:pt idx="59">
                  <c:v>176.11074395333873</c:v>
                </c:pt>
                <c:pt idx="60">
                  <c:v>179.2081581075669</c:v>
                </c:pt>
                <c:pt idx="61">
                  <c:v>182.36884017883318</c:v>
                </c:pt>
                <c:pt idx="62">
                  <c:v>185.59103956537663</c:v>
                </c:pt>
                <c:pt idx="63">
                  <c:v>188.87273201603654</c:v>
                </c:pt>
                <c:pt idx="64">
                  <c:v>192.21160654740532</c:v>
                </c:pt>
                <c:pt idx="65">
                  <c:v>195.6050425710786</c:v>
                </c:pt>
                <c:pt idx="66">
                  <c:v>199.05012683050023</c:v>
                </c:pt>
                <c:pt idx="67">
                  <c:v>202.54366681387097</c:v>
                </c:pt>
                <c:pt idx="68">
                  <c:v>206.08220429951575</c:v>
                </c:pt>
                <c:pt idx="69">
                  <c:v>209.6620305963892</c:v>
                </c:pt>
                <c:pt idx="70">
                  <c:v>213.27934301924662</c:v>
                </c:pt>
                <c:pt idx="71">
                  <c:v>216.93023197003572</c:v>
                </c:pt>
                <c:pt idx="72">
                  <c:v>220.61066589755717</c:v>
                </c:pt>
                <c:pt idx="73">
                  <c:v>224.3164959028002</c:v>
                </c:pt>
                <c:pt idx="74">
                  <c:v>228.04347102366802</c:v>
                </c:pt>
                <c:pt idx="75">
                  <c:v>231.78725906791107</c:v>
                </c:pt>
                <c:pt idx="76">
                  <c:v>235.54346974279696</c:v>
                </c:pt>
                <c:pt idx="77">
                  <c:v>239.30767810694667</c:v>
                </c:pt>
                <c:pt idx="78">
                  <c:v>243.07544764555183</c:v>
                </c:pt>
                <c:pt idx="79">
                  <c:v>246.84235160429705</c:v>
                </c:pt>
                <c:pt idx="80">
                  <c:v>250.60399561843238</c:v>
                </c:pt>
                <c:pt idx="81">
                  <c:v>254.35604014034726</c:v>
                </c:pt>
                <c:pt idx="82">
                  <c:v>258.09422230076564</c:v>
                </c:pt>
                <c:pt idx="83">
                  <c:v>261.81437743204168</c:v>
                </c:pt>
                <c:pt idx="84">
                  <c:v>265.51245953727727</c:v>
                </c:pt>
                <c:pt idx="85">
                  <c:v>269.18456060000335</c:v>
                </c:pt>
                <c:pt idx="86">
                  <c:v>272.8269288538599</c:v>
                </c:pt>
                <c:pt idx="87">
                  <c:v>276.43598475769375</c:v>
                </c:pt>
                <c:pt idx="88">
                  <c:v>280.00833553789977</c:v>
                </c:pt>
                <c:pt idx="89">
                  <c:v>283.54078786411918</c:v>
                </c:pt>
                <c:pt idx="90">
                  <c:v>287.03035864740565</c:v>
                </c:pt>
                <c:pt idx="91">
                  <c:v>290.4742838446806</c:v>
                </c:pt>
                <c:pt idx="92">
                  <c:v>293.8700252466806</c:v>
                </c:pt>
                <c:pt idx="93">
                  <c:v>297.2152753497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13.88394119603217</c:v>
                </c:pt>
                <c:pt idx="32">
                  <c:v>115.69359331445416</c:v>
                </c:pt>
                <c:pt idx="33">
                  <c:v>117.43102111242411</c:v>
                </c:pt>
                <c:pt idx="34">
                  <c:v>119.14692683056651</c:v>
                </c:pt>
                <c:pt idx="35">
                  <c:v>120.8779666218019</c:v>
                </c:pt>
                <c:pt idx="36">
                  <c:v>122.64826150298198</c:v>
                </c:pt>
                <c:pt idx="37">
                  <c:v>124.47270281626209</c:v>
                </c:pt>
                <c:pt idx="38">
                  <c:v>126.36262469170762</c:v>
                </c:pt>
                <c:pt idx="39">
                  <c:v>128.32774682228913</c:v>
                </c:pt>
                <c:pt idx="40">
                  <c:v>130.37687459974532</c:v>
                </c:pt>
                <c:pt idx="41">
                  <c:v>132.51807121058607</c:v>
                </c:pt>
                <c:pt idx="42">
                  <c:v>134.75859260016767</c:v>
                </c:pt>
                <c:pt idx="43">
                  <c:v>137.10443296164226</c:v>
                </c:pt>
                <c:pt idx="44">
                  <c:v>139.56085811008714</c:v>
                </c:pt>
                <c:pt idx="45">
                  <c:v>142.13247613146365</c:v>
                </c:pt>
                <c:pt idx="46">
                  <c:v>144.82325399773839</c:v>
                </c:pt>
                <c:pt idx="47">
                  <c:v>147.63670736259587</c:v>
                </c:pt>
                <c:pt idx="48">
                  <c:v>150.57592130579167</c:v>
                </c:pt>
                <c:pt idx="49">
                  <c:v>153.64355676482356</c:v>
                </c:pt>
                <c:pt idx="50">
                  <c:v>156.84198989112753</c:v>
                </c:pt>
                <c:pt idx="51">
                  <c:v>160.17308211233504</c:v>
                </c:pt>
                <c:pt idx="52">
                  <c:v>163.63827642620063</c:v>
                </c:pt>
                <c:pt idx="53">
                  <c:v>167.2385875177317</c:v>
                </c:pt>
                <c:pt idx="54">
                  <c:v>170.97461152834956</c:v>
                </c:pt>
                <c:pt idx="55">
                  <c:v>174.84651720456873</c:v>
                </c:pt>
                <c:pt idx="56">
                  <c:v>178.85402252757137</c:v>
                </c:pt>
                <c:pt idx="57">
                  <c:v>182.9963868736792</c:v>
                </c:pt>
                <c:pt idx="58">
                  <c:v>187.27232482138618</c:v>
                </c:pt>
                <c:pt idx="59">
                  <c:v>191.6800045618196</c:v>
                </c:pt>
                <c:pt idx="60">
                  <c:v>196.21710538488179</c:v>
                </c:pt>
                <c:pt idx="61">
                  <c:v>200.88074204202016</c:v>
                </c:pt>
                <c:pt idx="62">
                  <c:v>205.66741332971287</c:v>
                </c:pt>
                <c:pt idx="63">
                  <c:v>210.57307074563835</c:v>
                </c:pt>
                <c:pt idx="64">
                  <c:v>215.5930923229819</c:v>
                </c:pt>
                <c:pt idx="65">
                  <c:v>220.72223688493409</c:v>
                </c:pt>
                <c:pt idx="66">
                  <c:v>225.95467791838337</c:v>
                </c:pt>
                <c:pt idx="67">
                  <c:v>231.28403039973068</c:v>
                </c:pt>
                <c:pt idx="68">
                  <c:v>236.70337788562591</c:v>
                </c:pt>
                <c:pt idx="69">
                  <c:v>242.20530299397882</c:v>
                </c:pt>
                <c:pt idx="70">
                  <c:v>247.7822003542995</c:v>
                </c:pt>
                <c:pt idx="71">
                  <c:v>253.42625077048334</c:v>
                </c:pt>
                <c:pt idx="72">
                  <c:v>259.12939114013204</c:v>
                </c:pt>
                <c:pt idx="73">
                  <c:v>264.88332366522371</c:v>
                </c:pt>
                <c:pt idx="74">
                  <c:v>270.67954642156519</c:v>
                </c:pt>
                <c:pt idx="75">
                  <c:v>276.50939502465729</c:v>
                </c:pt>
                <c:pt idx="76">
                  <c:v>282.36408888903492</c:v>
                </c:pt>
                <c:pt idx="77">
                  <c:v>288.23477813194035</c:v>
                </c:pt>
                <c:pt idx="78">
                  <c:v>294.11258972375651</c:v>
                </c:pt>
                <c:pt idx="79">
                  <c:v>299.98867015585262</c:v>
                </c:pt>
                <c:pt idx="80">
                  <c:v>305.85423069872911</c:v>
                </c:pt>
                <c:pt idx="81">
                  <c:v>311.70059225716466</c:v>
                </c:pt>
                <c:pt idx="82">
                  <c:v>317.51922909260725</c:v>
                </c:pt>
                <c:pt idx="83">
                  <c:v>323.30181186976517</c:v>
                </c:pt>
                <c:pt idx="84">
                  <c:v>329.04024859484247</c:v>
                </c:pt>
                <c:pt idx="85">
                  <c:v>334.72672323490008</c:v>
                </c:pt>
                <c:pt idx="86">
                  <c:v>340.35373225721935</c:v>
                </c:pt>
                <c:pt idx="87">
                  <c:v>345.91411657949271</c:v>
                </c:pt>
                <c:pt idx="88">
                  <c:v>351.40109065451043</c:v>
                </c:pt>
                <c:pt idx="89">
                  <c:v>356.80826782155515</c:v>
                </c:pt>
                <c:pt idx="90">
                  <c:v>362.12968190273392</c:v>
                </c:pt>
                <c:pt idx="91">
                  <c:v>367.3598048118896</c:v>
                </c:pt>
                <c:pt idx="92">
                  <c:v>372.49356013049544</c:v>
                </c:pt>
                <c:pt idx="93">
                  <c:v>377.526332851160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18</c:v>
                </c:pt>
                <c:pt idx="1">
                  <c:v>39</c:v>
                </c:pt>
                <c:pt idx="2">
                  <c:v>53</c:v>
                </c:pt>
                <c:pt idx="3">
                  <c:v>66</c:v>
                </c:pt>
                <c:pt idx="4">
                  <c:v>74</c:v>
                </c:pt>
                <c:pt idx="5">
                  <c:v>97</c:v>
                </c:pt>
                <c:pt idx="6">
                  <c:v>114</c:v>
                </c:pt>
                <c:pt idx="7">
                  <c:v>137</c:v>
                </c:pt>
                <c:pt idx="8">
                  <c:v>162</c:v>
                </c:pt>
                <c:pt idx="9">
                  <c:v>176</c:v>
                </c:pt>
                <c:pt idx="10">
                  <c:v>189</c:v>
                </c:pt>
                <c:pt idx="11">
                  <c:v>200</c:v>
                </c:pt>
                <c:pt idx="12">
                  <c:v>220</c:v>
                </c:pt>
                <c:pt idx="13">
                  <c:v>233</c:v>
                </c:pt>
                <c:pt idx="14">
                  <c:v>250</c:v>
                </c:pt>
                <c:pt idx="15">
                  <c:v>265</c:v>
                </c:pt>
                <c:pt idx="16">
                  <c:v>277</c:v>
                </c:pt>
                <c:pt idx="17">
                  <c:v>291</c:v>
                </c:pt>
                <c:pt idx="18">
                  <c:v>300</c:v>
                </c:pt>
                <c:pt idx="19">
                  <c:v>310</c:v>
                </c:pt>
                <c:pt idx="20">
                  <c:v>323</c:v>
                </c:pt>
                <c:pt idx="21">
                  <c:v>333</c:v>
                </c:pt>
                <c:pt idx="22">
                  <c:v>344</c:v>
                </c:pt>
                <c:pt idx="23">
                  <c:v>350</c:v>
                </c:pt>
                <c:pt idx="24">
                  <c:v>361</c:v>
                </c:pt>
                <c:pt idx="25">
                  <c:v>365</c:v>
                </c:pt>
                <c:pt idx="26">
                  <c:v>384</c:v>
                </c:pt>
                <c:pt idx="27">
                  <c:v>394</c:v>
                </c:pt>
                <c:pt idx="28">
                  <c:v>403</c:v>
                </c:pt>
                <c:pt idx="29">
                  <c:v>408</c:v>
                </c:pt>
                <c:pt idx="30">
                  <c:v>417</c:v>
                </c:pt>
                <c:pt idx="31">
                  <c:v>421</c:v>
                </c:pt>
                <c:pt idx="32">
                  <c:v>425</c:v>
                </c:pt>
                <c:pt idx="33">
                  <c:v>433</c:v>
                </c:pt>
                <c:pt idx="34">
                  <c:v>438</c:v>
                </c:pt>
                <c:pt idx="35">
                  <c:v>444</c:v>
                </c:pt>
                <c:pt idx="36">
                  <c:v>453</c:v>
                </c:pt>
                <c:pt idx="37">
                  <c:v>459</c:v>
                </c:pt>
                <c:pt idx="38">
                  <c:v>470</c:v>
                </c:pt>
                <c:pt idx="39">
                  <c:v>474</c:v>
                </c:pt>
                <c:pt idx="40">
                  <c:v>483</c:v>
                </c:pt>
                <c:pt idx="41">
                  <c:v>487</c:v>
                </c:pt>
                <c:pt idx="42">
                  <c:v>493</c:v>
                </c:pt>
                <c:pt idx="43">
                  <c:v>496</c:v>
                </c:pt>
                <c:pt idx="44">
                  <c:v>498</c:v>
                </c:pt>
                <c:pt idx="45">
                  <c:v>499</c:v>
                </c:pt>
                <c:pt idx="46">
                  <c:v>501</c:v>
                </c:pt>
                <c:pt idx="47">
                  <c:v>508</c:v>
                </c:pt>
                <c:pt idx="48">
                  <c:v>513</c:v>
                </c:pt>
                <c:pt idx="49">
                  <c:v>521</c:v>
                </c:pt>
                <c:pt idx="50">
                  <c:v>529</c:v>
                </c:pt>
                <c:pt idx="51">
                  <c:v>531</c:v>
                </c:pt>
                <c:pt idx="52">
                  <c:v>537</c:v>
                </c:pt>
                <c:pt idx="53">
                  <c:v>541</c:v>
                </c:pt>
                <c:pt idx="54">
                  <c:v>544</c:v>
                </c:pt>
                <c:pt idx="55">
                  <c:v>552</c:v>
                </c:pt>
                <c:pt idx="56">
                  <c:v>554</c:v>
                </c:pt>
                <c:pt idx="57">
                  <c:v>562</c:v>
                </c:pt>
                <c:pt idx="58">
                  <c:v>568</c:v>
                </c:pt>
                <c:pt idx="59">
                  <c:v>573</c:v>
                </c:pt>
                <c:pt idx="60">
                  <c:v>579</c:v>
                </c:pt>
                <c:pt idx="61">
                  <c:v>587</c:v>
                </c:pt>
                <c:pt idx="62">
                  <c:v>595</c:v>
                </c:pt>
                <c:pt idx="63">
                  <c:v>602</c:v>
                </c:pt>
                <c:pt idx="64">
                  <c:v>612</c:v>
                </c:pt>
                <c:pt idx="65">
                  <c:v>616</c:v>
                </c:pt>
                <c:pt idx="66">
                  <c:v>629</c:v>
                </c:pt>
                <c:pt idx="67">
                  <c:v>641</c:v>
                </c:pt>
                <c:pt idx="68">
                  <c:v>648</c:v>
                </c:pt>
                <c:pt idx="69">
                  <c:v>656</c:v>
                </c:pt>
                <c:pt idx="70">
                  <c:v>672</c:v>
                </c:pt>
                <c:pt idx="71">
                  <c:v>687</c:v>
                </c:pt>
                <c:pt idx="72">
                  <c:v>696</c:v>
                </c:pt>
                <c:pt idx="73">
                  <c:v>702</c:v>
                </c:pt>
                <c:pt idx="74">
                  <c:v>710</c:v>
                </c:pt>
                <c:pt idx="75">
                  <c:v>714</c:v>
                </c:pt>
                <c:pt idx="76">
                  <c:v>727</c:v>
                </c:pt>
                <c:pt idx="77">
                  <c:v>738</c:v>
                </c:pt>
                <c:pt idx="78">
                  <c:v>750</c:v>
                </c:pt>
                <c:pt idx="79">
                  <c:v>758</c:v>
                </c:pt>
                <c:pt idx="80">
                  <c:v>766</c:v>
                </c:pt>
                <c:pt idx="81">
                  <c:v>776</c:v>
                </c:pt>
                <c:pt idx="82">
                  <c:v>790</c:v>
                </c:pt>
                <c:pt idx="83">
                  <c:v>796</c:v>
                </c:pt>
                <c:pt idx="84">
                  <c:v>808</c:v>
                </c:pt>
                <c:pt idx="85">
                  <c:v>816</c:v>
                </c:pt>
                <c:pt idx="86">
                  <c:v>822</c:v>
                </c:pt>
                <c:pt idx="87">
                  <c:v>830</c:v>
                </c:pt>
                <c:pt idx="88">
                  <c:v>837</c:v>
                </c:pt>
                <c:pt idx="89">
                  <c:v>850</c:v>
                </c:pt>
                <c:pt idx="90">
                  <c:v>865</c:v>
                </c:pt>
                <c:pt idx="91">
                  <c:v>869</c:v>
                </c:pt>
                <c:pt idx="92">
                  <c:v>877</c:v>
                </c:pt>
                <c:pt idx="93">
                  <c:v>8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27.63759944337363</c:v>
                </c:pt>
                <c:pt idx="32">
                  <c:v>434.97402695048982</c:v>
                </c:pt>
                <c:pt idx="33">
                  <c:v>442.01765315847604</c:v>
                </c:pt>
                <c:pt idx="34">
                  <c:v>448.77687652703952</c:v>
                </c:pt>
                <c:pt idx="35">
                  <c:v>455.26009535868121</c:v>
                </c:pt>
                <c:pt idx="36">
                  <c:v>461.48269346394244</c:v>
                </c:pt>
                <c:pt idx="37">
                  <c:v>467.45243702173025</c:v>
                </c:pt>
                <c:pt idx="38">
                  <c:v>473.17706023565688</c:v>
                </c:pt>
                <c:pt idx="39">
                  <c:v>478.66424711107993</c:v>
                </c:pt>
                <c:pt idx="40">
                  <c:v>483.92161513640849</c:v>
                </c:pt>
                <c:pt idx="41">
                  <c:v>489.01451414722391</c:v>
                </c:pt>
                <c:pt idx="42">
                  <c:v>493.99164798609331</c:v>
                </c:pt>
                <c:pt idx="43">
                  <c:v>498.88282997479968</c:v>
                </c:pt>
                <c:pt idx="44">
                  <c:v>503.70718011622171</c:v>
                </c:pt>
                <c:pt idx="45">
                  <c:v>508.47793897797516</c:v>
                </c:pt>
                <c:pt idx="46">
                  <c:v>513.20519475183448</c:v>
                </c:pt>
                <c:pt idx="47">
                  <c:v>517.89706474315688</c:v>
                </c:pt>
                <c:pt idx="48">
                  <c:v>522.56011088574837</c:v>
                </c:pt>
                <c:pt idx="49">
                  <c:v>527.19940951940714</c:v>
                </c:pt>
                <c:pt idx="50">
                  <c:v>531.81811102243694</c:v>
                </c:pt>
                <c:pt idx="51">
                  <c:v>536.4181963448566</c:v>
                </c:pt>
                <c:pt idx="52">
                  <c:v>541.00068300349847</c:v>
                </c:pt>
                <c:pt idx="53">
                  <c:v>545.56575084151325</c:v>
                </c:pt>
                <c:pt idx="54">
                  <c:v>550.11306025994611</c:v>
                </c:pt>
                <c:pt idx="55">
                  <c:v>554.64185930296003</c:v>
                </c:pt>
                <c:pt idx="56">
                  <c:v>559.1510738653692</c:v>
                </c:pt>
                <c:pt idx="57">
                  <c:v>563.63954266218548</c:v>
                </c:pt>
                <c:pt idx="58">
                  <c:v>568.1058031404724</c:v>
                </c:pt>
                <c:pt idx="59">
                  <c:v>572.54826519506025</c:v>
                </c:pt>
                <c:pt idx="60">
                  <c:v>576.96525654222376</c:v>
                </c:pt>
                <c:pt idx="61">
                  <c:v>581.35508739708575</c:v>
                </c:pt>
                <c:pt idx="62">
                  <c:v>585.71608676948426</c:v>
                </c:pt>
                <c:pt idx="63">
                  <c:v>590.04661934833177</c:v>
                </c:pt>
                <c:pt idx="64">
                  <c:v>594.34511929677535</c:v>
                </c:pt>
                <c:pt idx="65">
                  <c:v>598.61001751605636</c:v>
                </c:pt>
                <c:pt idx="66">
                  <c:v>602.83976984120932</c:v>
                </c:pt>
                <c:pt idx="67">
                  <c:v>607.03295320002337</c:v>
                </c:pt>
                <c:pt idx="68">
                  <c:v>611.18819449311945</c:v>
                </c:pt>
                <c:pt idx="69">
                  <c:v>615.30412420930986</c:v>
                </c:pt>
                <c:pt idx="70">
                  <c:v>619.37963238408622</c:v>
                </c:pt>
                <c:pt idx="71">
                  <c:v>623.41380136956343</c:v>
                </c:pt>
                <c:pt idx="72">
                  <c:v>627.40579213848673</c:v>
                </c:pt>
                <c:pt idx="73">
                  <c:v>631.35484627931646</c:v>
                </c:pt>
                <c:pt idx="74">
                  <c:v>635.26028634657337</c:v>
                </c:pt>
                <c:pt idx="75">
                  <c:v>639.12151538230592</c:v>
                </c:pt>
                <c:pt idx="76">
                  <c:v>642.93801537048887</c:v>
                </c:pt>
                <c:pt idx="77">
                  <c:v>646.70934378907725</c:v>
                </c:pt>
                <c:pt idx="78">
                  <c:v>650.43512857278995</c:v>
                </c:pt>
                <c:pt idx="79">
                  <c:v>654.11506048835224</c:v>
                </c:pt>
                <c:pt idx="80">
                  <c:v>657.74888746600925</c:v>
                </c:pt>
                <c:pt idx="81">
                  <c:v>661.33640941465558</c:v>
                </c:pt>
                <c:pt idx="82">
                  <c:v>664.87747341404281</c:v>
                </c:pt>
                <c:pt idx="83">
                  <c:v>668.3719698318472</c:v>
                </c:pt>
                <c:pt idx="84">
                  <c:v>671.81982873331765</c:v>
                </c:pt>
                <c:pt idx="85">
                  <c:v>675.22101679360526</c:v>
                </c:pt>
                <c:pt idx="86">
                  <c:v>678.57553500891856</c:v>
                </c:pt>
                <c:pt idx="87">
                  <c:v>681.88341582391013</c:v>
                </c:pt>
                <c:pt idx="88">
                  <c:v>685.14472094310929</c:v>
                </c:pt>
                <c:pt idx="89">
                  <c:v>688.35953937459055</c:v>
                </c:pt>
                <c:pt idx="90">
                  <c:v>691.52798576631938</c:v>
                </c:pt>
                <c:pt idx="91">
                  <c:v>694.65019890658164</c:v>
                </c:pt>
                <c:pt idx="92">
                  <c:v>697.7263403754514</c:v>
                </c:pt>
                <c:pt idx="93">
                  <c:v>700.756593457497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27.63759944337363</c:v>
                </c:pt>
                <c:pt idx="32">
                  <c:v>434.97402695048982</c:v>
                </c:pt>
                <c:pt idx="33">
                  <c:v>442.01765315847604</c:v>
                </c:pt>
                <c:pt idx="34">
                  <c:v>448.87545210926265</c:v>
                </c:pt>
                <c:pt idx="35">
                  <c:v>455.74457496729593</c:v>
                </c:pt>
                <c:pt idx="36">
                  <c:v>462.6932689535958</c:v>
                </c:pt>
                <c:pt idx="37">
                  <c:v>469.75171922117806</c:v>
                </c:pt>
                <c:pt idx="38">
                  <c:v>476.942900358016</c:v>
                </c:pt>
                <c:pt idx="39">
                  <c:v>484.28651444445325</c:v>
                </c:pt>
                <c:pt idx="40">
                  <c:v>491.80041024752836</c:v>
                </c:pt>
                <c:pt idx="41">
                  <c:v>499.50093206422082</c:v>
                </c:pt>
                <c:pt idx="42">
                  <c:v>507.40278789187442</c:v>
                </c:pt>
                <c:pt idx="43">
                  <c:v>515.51812812201376</c:v>
                </c:pt>
                <c:pt idx="44">
                  <c:v>523.85762670411964</c:v>
                </c:pt>
                <c:pt idx="45">
                  <c:v>532.43062435297873</c:v>
                </c:pt>
                <c:pt idx="46">
                  <c:v>541.245162227984</c:v>
                </c:pt>
                <c:pt idx="47">
                  <c:v>550.30836665416984</c:v>
                </c:pt>
                <c:pt idx="48">
                  <c:v>559.62649117158196</c:v>
                </c:pt>
                <c:pt idx="49">
                  <c:v>569.20492957244494</c:v>
                </c:pt>
                <c:pt idx="50">
                  <c:v>579.04849837994118</c:v>
                </c:pt>
                <c:pt idx="51">
                  <c:v>589.16097075818823</c:v>
                </c:pt>
                <c:pt idx="52">
                  <c:v>599.54527170263407</c:v>
                </c:pt>
                <c:pt idx="53">
                  <c:v>610.20345800721191</c:v>
                </c:pt>
                <c:pt idx="54">
                  <c:v>621.13673806669613</c:v>
                </c:pt>
                <c:pt idx="55">
                  <c:v>632.34545393483097</c:v>
                </c:pt>
                <c:pt idx="56">
                  <c:v>643.82903395185156</c:v>
                </c:pt>
                <c:pt idx="57">
                  <c:v>655.58597685354516</c:v>
                </c:pt>
                <c:pt idx="58">
                  <c:v>667.61367705577686</c:v>
                </c:pt>
                <c:pt idx="59">
                  <c:v>679.90842143245436</c:v>
                </c:pt>
                <c:pt idx="60">
                  <c:v>692.46550584148758</c:v>
                </c:pt>
                <c:pt idx="61">
                  <c:v>705.27908180608051</c:v>
                </c:pt>
                <c:pt idx="62">
                  <c:v>718.34205229206748</c:v>
                </c:pt>
                <c:pt idx="63">
                  <c:v>731.64621087582384</c:v>
                </c:pt>
                <c:pt idx="64">
                  <c:v>745.18218870569729</c:v>
                </c:pt>
                <c:pt idx="65">
                  <c:v>758.93936177464298</c:v>
                </c:pt>
                <c:pt idx="66">
                  <c:v>772.90591958310904</c:v>
                </c:pt>
                <c:pt idx="67">
                  <c:v>787.0689195156931</c:v>
                </c:pt>
                <c:pt idx="68">
                  <c:v>801.41434175479355</c:v>
                </c:pt>
                <c:pt idx="69">
                  <c:v>815.92715106644266</c:v>
                </c:pt>
                <c:pt idx="70">
                  <c:v>830.59193115910796</c:v>
                </c:pt>
                <c:pt idx="71">
                  <c:v>845.39283231095567</c:v>
                </c:pt>
                <c:pt idx="72">
                  <c:v>860.31351039550202</c:v>
                </c:pt>
                <c:pt idx="73">
                  <c:v>875.33714555189272</c:v>
                </c:pt>
                <c:pt idx="74">
                  <c:v>890.44650415000558</c:v>
                </c:pt>
                <c:pt idx="75">
                  <c:v>905.62402324828815</c:v>
                </c:pt>
                <c:pt idx="76">
                  <c:v>920.85190436269045</c:v>
                </c:pt>
                <c:pt idx="77">
                  <c:v>936.11220854167573</c:v>
                </c:pt>
                <c:pt idx="78">
                  <c:v>951.38694991439934</c:v>
                </c:pt>
                <c:pt idx="79">
                  <c:v>966.6581821795827</c:v>
                </c:pt>
                <c:pt idx="80">
                  <c:v>981.90809034499625</c:v>
                </c:pt>
                <c:pt idx="81">
                  <c:v>997.1190816500565</c:v>
                </c:pt>
                <c:pt idx="82">
                  <c:v>1012.2738741922932</c:v>
                </c:pt>
                <c:pt idx="83">
                  <c:v>1027.3555841839529</c:v>
                </c:pt>
                <c:pt idx="84">
                  <c:v>1042.347808934908</c:v>
                </c:pt>
                <c:pt idx="85">
                  <c:v>1057.2347051351489</c:v>
                </c:pt>
                <c:pt idx="86">
                  <c:v>1072.0010629210537</c:v>
                </c:pt>
                <c:pt idx="87">
                  <c:v>1086.6323706392991</c:v>
                </c:pt>
                <c:pt idx="88">
                  <c:v>1101.1148738022966</c:v>
                </c:pt>
                <c:pt idx="89">
                  <c:v>1115.4356264761593</c:v>
                </c:pt>
                <c:pt idx="90">
                  <c:v>1129.5825350570503</c:v>
                </c:pt>
                <c:pt idx="91">
                  <c:v>1143.5443939649217</c:v>
                </c:pt>
                <c:pt idx="92">
                  <c:v>1157.3109131622191</c:v>
                </c:pt>
                <c:pt idx="93">
                  <c:v>1170.87273790423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27.63759944337363</c:v>
                </c:pt>
                <c:pt idx="32">
                  <c:v>434.97402695048982</c:v>
                </c:pt>
                <c:pt idx="33">
                  <c:v>442.01765315847604</c:v>
                </c:pt>
                <c:pt idx="34">
                  <c:v>448.97402769148579</c:v>
                </c:pt>
                <c:pt idx="35">
                  <c:v>455.99175657487251</c:v>
                </c:pt>
                <c:pt idx="36">
                  <c:v>463.1686277147918</c:v>
                </c:pt>
                <c:pt idx="37">
                  <c:v>470.5650114172787</c:v>
                </c:pt>
                <c:pt idx="38">
                  <c:v>478.22685685827412</c:v>
                </c:pt>
                <c:pt idx="39">
                  <c:v>486.19356819846945</c:v>
                </c:pt>
                <c:pt idx="40">
                  <c:v>494.50084297194053</c:v>
                </c:pt>
                <c:pt idx="41">
                  <c:v>503.18136977264629</c:v>
                </c:pt>
                <c:pt idx="42">
                  <c:v>512.26456459527446</c:v>
                </c:pt>
                <c:pt idx="43">
                  <c:v>521.77472822287416</c:v>
                </c:pt>
                <c:pt idx="44">
                  <c:v>531.7332085544075</c:v>
                </c:pt>
                <c:pt idx="45">
                  <c:v>542.15868701944737</c:v>
                </c:pt>
                <c:pt idx="46">
                  <c:v>553.06724593677734</c:v>
                </c:pt>
                <c:pt idx="47">
                  <c:v>564.47313795646983</c:v>
                </c:pt>
                <c:pt idx="48">
                  <c:v>576.38887015861496</c:v>
                </c:pt>
                <c:pt idx="49">
                  <c:v>588.82523012766319</c:v>
                </c:pt>
                <c:pt idx="50">
                  <c:v>601.79185090997657</c:v>
                </c:pt>
                <c:pt idx="51">
                  <c:v>615.29627883379078</c:v>
                </c:pt>
                <c:pt idx="52">
                  <c:v>629.34436389000268</c:v>
                </c:pt>
                <c:pt idx="53">
                  <c:v>643.94021966648006</c:v>
                </c:pt>
                <c:pt idx="54">
                  <c:v>659.08626295276861</c:v>
                </c:pt>
                <c:pt idx="55">
                  <c:v>674.78317785635988</c:v>
                </c:pt>
                <c:pt idx="56">
                  <c:v>691.02982105772196</c:v>
                </c:pt>
                <c:pt idx="57">
                  <c:v>707.82319002842939</c:v>
                </c:pt>
                <c:pt idx="58">
                  <c:v>725.15807360021449</c:v>
                </c:pt>
                <c:pt idx="59">
                  <c:v>743.02704552089051</c:v>
                </c:pt>
                <c:pt idx="60">
                  <c:v>761.42069750627775</c:v>
                </c:pt>
                <c:pt idx="61">
                  <c:v>780.32733260278462</c:v>
                </c:pt>
                <c:pt idx="62">
                  <c:v>799.73275674207935</c:v>
                </c:pt>
                <c:pt idx="63">
                  <c:v>819.62055707691241</c:v>
                </c:pt>
                <c:pt idx="64">
                  <c:v>839.97199590398088</c:v>
                </c:pt>
                <c:pt idx="65">
                  <c:v>860.76582520919249</c:v>
                </c:pt>
                <c:pt idx="66">
                  <c:v>881.97842399344631</c:v>
                </c:pt>
                <c:pt idx="67">
                  <c:v>903.58390702593545</c:v>
                </c:pt>
                <c:pt idx="68">
                  <c:v>925.5542346714567</c:v>
                </c:pt>
                <c:pt idx="69">
                  <c:v>947.85933646207661</c:v>
                </c:pt>
                <c:pt idx="70">
                  <c:v>970.468379814728</c:v>
                </c:pt>
                <c:pt idx="71">
                  <c:v>993.34966528574353</c:v>
                </c:pt>
                <c:pt idx="72">
                  <c:v>1016.4705046221573</c:v>
                </c:pt>
                <c:pt idx="73">
                  <c:v>1039.7972581022586</c:v>
                </c:pt>
                <c:pt idx="74">
                  <c:v>1063.2954584658053</c:v>
                </c:pt>
                <c:pt idx="75">
                  <c:v>1086.9299798296922</c:v>
                </c:pt>
                <c:pt idx="76">
                  <c:v>1110.6652252258177</c:v>
                </c:pt>
                <c:pt idx="77">
                  <c:v>1134.4653167511101</c:v>
                </c:pt>
                <c:pt idx="78">
                  <c:v>1158.2942826638782</c:v>
                </c:pt>
                <c:pt idx="79">
                  <c:v>1182.1162303615649</c:v>
                </c:pt>
                <c:pt idx="80">
                  <c:v>1205.895529859713</c:v>
                </c:pt>
                <c:pt idx="81">
                  <c:v>1229.5969956371544</c:v>
                </c:pt>
                <c:pt idx="82">
                  <c:v>1253.1860638889486</c:v>
                </c:pt>
                <c:pt idx="83">
                  <c:v>1276.628967039589</c:v>
                </c:pt>
                <c:pt idx="84">
                  <c:v>1299.8928997088215</c:v>
                </c:pt>
                <c:pt idx="85">
                  <c:v>1322.9461752766226</c:v>
                </c:pt>
                <c:pt idx="86">
                  <c:v>1345.7583740157547</c:v>
                </c:pt>
                <c:pt idx="87">
                  <c:v>1368.3004726195659</c:v>
                </c:pt>
                <c:pt idx="88">
                  <c:v>1390.544962112881</c:v>
                </c:pt>
                <c:pt idx="89">
                  <c:v>1412.465950627927</c:v>
                </c:pt>
                <c:pt idx="90">
                  <c:v>1434.0392509570302</c:v>
                </c:pt>
                <c:pt idx="91">
                  <c:v>1455.2424519400938</c:v>
                </c:pt>
                <c:pt idx="92">
                  <c:v>1476.0549735020095</c:v>
                </c:pt>
                <c:pt idx="93">
                  <c:v>1496.4581061533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13</c:v>
                </c:pt>
                <c:pt idx="1">
                  <c:v>20</c:v>
                </c:pt>
                <c:pt idx="2">
                  <c:v>29</c:v>
                </c:pt>
                <c:pt idx="3">
                  <c:v>37</c:v>
                </c:pt>
                <c:pt idx="4">
                  <c:v>43</c:v>
                </c:pt>
                <c:pt idx="5">
                  <c:v>46</c:v>
                </c:pt>
                <c:pt idx="6">
                  <c:v>52</c:v>
                </c:pt>
                <c:pt idx="7">
                  <c:v>56</c:v>
                </c:pt>
                <c:pt idx="8">
                  <c:v>62</c:v>
                </c:pt>
                <c:pt idx="9">
                  <c:v>73</c:v>
                </c:pt>
                <c:pt idx="10">
                  <c:v>77</c:v>
                </c:pt>
                <c:pt idx="11">
                  <c:v>80</c:v>
                </c:pt>
                <c:pt idx="12">
                  <c:v>85</c:v>
                </c:pt>
                <c:pt idx="13">
                  <c:v>91</c:v>
                </c:pt>
                <c:pt idx="14">
                  <c:v>99</c:v>
                </c:pt>
                <c:pt idx="15">
                  <c:v>100</c:v>
                </c:pt>
                <c:pt idx="16">
                  <c:v>104</c:v>
                </c:pt>
                <c:pt idx="17">
                  <c:v>105</c:v>
                </c:pt>
                <c:pt idx="18">
                  <c:v>113</c:v>
                </c:pt>
                <c:pt idx="19">
                  <c:v>125</c:v>
                </c:pt>
                <c:pt idx="20">
                  <c:v>128</c:v>
                </c:pt>
                <c:pt idx="21">
                  <c:v>135</c:v>
                </c:pt>
                <c:pt idx="22">
                  <c:v>142</c:v>
                </c:pt>
                <c:pt idx="23">
                  <c:v>144</c:v>
                </c:pt>
                <c:pt idx="24">
                  <c:v>151</c:v>
                </c:pt>
                <c:pt idx="25">
                  <c:v>153</c:v>
                </c:pt>
                <c:pt idx="26">
                  <c:v>158</c:v>
                </c:pt>
                <c:pt idx="27">
                  <c:v>163</c:v>
                </c:pt>
                <c:pt idx="28">
                  <c:v>165</c:v>
                </c:pt>
                <c:pt idx="29">
                  <c:v>168</c:v>
                </c:pt>
                <c:pt idx="30">
                  <c:v>171</c:v>
                </c:pt>
                <c:pt idx="31">
                  <c:v>176</c:v>
                </c:pt>
                <c:pt idx="32">
                  <c:v>179</c:v>
                </c:pt>
                <c:pt idx="33">
                  <c:v>186</c:v>
                </c:pt>
                <c:pt idx="34">
                  <c:v>189</c:v>
                </c:pt>
                <c:pt idx="35">
                  <c:v>190</c:v>
                </c:pt>
                <c:pt idx="36">
                  <c:v>194</c:v>
                </c:pt>
                <c:pt idx="37">
                  <c:v>194</c:v>
                </c:pt>
                <c:pt idx="38">
                  <c:v>198</c:v>
                </c:pt>
                <c:pt idx="39">
                  <c:v>198</c:v>
                </c:pt>
                <c:pt idx="40">
                  <c:v>200</c:v>
                </c:pt>
                <c:pt idx="41">
                  <c:v>203</c:v>
                </c:pt>
                <c:pt idx="42">
                  <c:v>205</c:v>
                </c:pt>
                <c:pt idx="43">
                  <c:v>206</c:v>
                </c:pt>
                <c:pt idx="44">
                  <c:v>206</c:v>
                </c:pt>
                <c:pt idx="45">
                  <c:v>207</c:v>
                </c:pt>
                <c:pt idx="46">
                  <c:v>207</c:v>
                </c:pt>
                <c:pt idx="47">
                  <c:v>209</c:v>
                </c:pt>
                <c:pt idx="48">
                  <c:v>209</c:v>
                </c:pt>
                <c:pt idx="49">
                  <c:v>209</c:v>
                </c:pt>
                <c:pt idx="50">
                  <c:v>209</c:v>
                </c:pt>
                <c:pt idx="51">
                  <c:v>211</c:v>
                </c:pt>
                <c:pt idx="52">
                  <c:v>212</c:v>
                </c:pt>
                <c:pt idx="53">
                  <c:v>213</c:v>
                </c:pt>
                <c:pt idx="54">
                  <c:v>214</c:v>
                </c:pt>
                <c:pt idx="55">
                  <c:v>218</c:v>
                </c:pt>
                <c:pt idx="56">
                  <c:v>222</c:v>
                </c:pt>
                <c:pt idx="57">
                  <c:v>222</c:v>
                </c:pt>
                <c:pt idx="58">
                  <c:v>226</c:v>
                </c:pt>
                <c:pt idx="59">
                  <c:v>228</c:v>
                </c:pt>
                <c:pt idx="60">
                  <c:v>228</c:v>
                </c:pt>
                <c:pt idx="61">
                  <c:v>231</c:v>
                </c:pt>
                <c:pt idx="62">
                  <c:v>234</c:v>
                </c:pt>
                <c:pt idx="63">
                  <c:v>240</c:v>
                </c:pt>
                <c:pt idx="64">
                  <c:v>241</c:v>
                </c:pt>
                <c:pt idx="65">
                  <c:v>245</c:v>
                </c:pt>
                <c:pt idx="66">
                  <c:v>249</c:v>
                </c:pt>
                <c:pt idx="67">
                  <c:v>254</c:v>
                </c:pt>
                <c:pt idx="68">
                  <c:v>258</c:v>
                </c:pt>
                <c:pt idx="69">
                  <c:v>261</c:v>
                </c:pt>
                <c:pt idx="70">
                  <c:v>264</c:v>
                </c:pt>
                <c:pt idx="71">
                  <c:v>266</c:v>
                </c:pt>
                <c:pt idx="72">
                  <c:v>270</c:v>
                </c:pt>
                <c:pt idx="73">
                  <c:v>271</c:v>
                </c:pt>
                <c:pt idx="74">
                  <c:v>275</c:v>
                </c:pt>
                <c:pt idx="75">
                  <c:v>281</c:v>
                </c:pt>
                <c:pt idx="76">
                  <c:v>288</c:v>
                </c:pt>
                <c:pt idx="77">
                  <c:v>291</c:v>
                </c:pt>
                <c:pt idx="78">
                  <c:v>292</c:v>
                </c:pt>
                <c:pt idx="79">
                  <c:v>297</c:v>
                </c:pt>
                <c:pt idx="80">
                  <c:v>300</c:v>
                </c:pt>
                <c:pt idx="81">
                  <c:v>301</c:v>
                </c:pt>
                <c:pt idx="82">
                  <c:v>302</c:v>
                </c:pt>
                <c:pt idx="83">
                  <c:v>305</c:v>
                </c:pt>
                <c:pt idx="84">
                  <c:v>309</c:v>
                </c:pt>
                <c:pt idx="85">
                  <c:v>313</c:v>
                </c:pt>
                <c:pt idx="86">
                  <c:v>316</c:v>
                </c:pt>
                <c:pt idx="87">
                  <c:v>317</c:v>
                </c:pt>
                <c:pt idx="88">
                  <c:v>319</c:v>
                </c:pt>
                <c:pt idx="89">
                  <c:v>319</c:v>
                </c:pt>
                <c:pt idx="90">
                  <c:v>320</c:v>
                </c:pt>
                <c:pt idx="91">
                  <c:v>321</c:v>
                </c:pt>
                <c:pt idx="92">
                  <c:v>322</c:v>
                </c:pt>
                <c:pt idx="93">
                  <c:v>3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4.4114610847069</c:v>
                </c:pt>
                <c:pt idx="32">
                  <c:v>177.68839870455213</c:v>
                </c:pt>
                <c:pt idx="33">
                  <c:v>180.83455174411932</c:v>
                </c:pt>
                <c:pt idx="34">
                  <c:v>183.85367151541101</c:v>
                </c:pt>
                <c:pt idx="35">
                  <c:v>186.74950926021097</c:v>
                </c:pt>
                <c:pt idx="36">
                  <c:v>189.52893641389434</c:v>
                </c:pt>
                <c:pt idx="37">
                  <c:v>192.19542186970625</c:v>
                </c:pt>
                <c:pt idx="38">
                  <c:v>194.75242023859349</c:v>
                </c:pt>
                <c:pt idx="39">
                  <c:v>197.20336370961579</c:v>
                </c:pt>
                <c:pt idx="40">
                  <c:v>199.55165476092921</c:v>
                </c:pt>
                <c:pt idx="41">
                  <c:v>201.82648298576009</c:v>
                </c:pt>
                <c:pt idx="42">
                  <c:v>204.04960276712177</c:v>
                </c:pt>
                <c:pt idx="43">
                  <c:v>206.23433072207726</c:v>
                </c:pt>
                <c:pt idx="44">
                  <c:v>208.38920711857912</c:v>
                </c:pt>
                <c:pt idx="45">
                  <c:v>210.52014607682901</c:v>
                </c:pt>
                <c:pt idx="46">
                  <c:v>212.63165365581952</c:v>
                </c:pt>
                <c:pt idx="47">
                  <c:v>214.72735558527683</c:v>
                </c:pt>
                <c:pt idx="48">
                  <c:v>216.81018286230102</c:v>
                </c:pt>
                <c:pt idx="49">
                  <c:v>218.88240291866862</c:v>
                </c:pt>
                <c:pt idx="50">
                  <c:v>220.94542292335527</c:v>
                </c:pt>
                <c:pt idx="51">
                  <c:v>223.00012770070271</c:v>
                </c:pt>
                <c:pt idx="52">
                  <c:v>225.04697174156274</c:v>
                </c:pt>
                <c:pt idx="53">
                  <c:v>227.08603537587604</c:v>
                </c:pt>
                <c:pt idx="54">
                  <c:v>229.11716691610937</c:v>
                </c:pt>
                <c:pt idx="55">
                  <c:v>231.14003048865558</c:v>
                </c:pt>
                <c:pt idx="56">
                  <c:v>233.1541463265317</c:v>
                </c:pt>
                <c:pt idx="57">
                  <c:v>235.15899572244297</c:v>
                </c:pt>
                <c:pt idx="58">
                  <c:v>237.15392540274448</c:v>
                </c:pt>
                <c:pt idx="59">
                  <c:v>239.13822512046039</c:v>
                </c:pt>
                <c:pt idx="60">
                  <c:v>241.11114792219342</c:v>
                </c:pt>
                <c:pt idx="61">
                  <c:v>243.07193903736513</c:v>
                </c:pt>
                <c:pt idx="62">
                  <c:v>245.0198520903698</c:v>
                </c:pt>
                <c:pt idx="63">
                  <c:v>246.95415664225499</c:v>
                </c:pt>
                <c:pt idx="64">
                  <c:v>248.87415328589313</c:v>
                </c:pt>
                <c:pt idx="65">
                  <c:v>250.77914115717198</c:v>
                </c:pt>
                <c:pt idx="66">
                  <c:v>252.66843052907365</c:v>
                </c:pt>
                <c:pt idx="67">
                  <c:v>254.54138576267724</c:v>
                </c:pt>
                <c:pt idx="68">
                  <c:v>256.39739354026017</c:v>
                </c:pt>
                <c:pt idx="69">
                  <c:v>258.23584214682523</c:v>
                </c:pt>
                <c:pt idx="70">
                  <c:v>260.05623579822537</c:v>
                </c:pt>
                <c:pt idx="71">
                  <c:v>261.85816461173852</c:v>
                </c:pt>
                <c:pt idx="72">
                  <c:v>263.64125382185762</c:v>
                </c:pt>
                <c:pt idx="73">
                  <c:v>265.40516467142822</c:v>
                </c:pt>
                <c:pt idx="74">
                  <c:v>267.14959456813631</c:v>
                </c:pt>
                <c:pt idx="75">
                  <c:v>268.87427687076354</c:v>
                </c:pt>
                <c:pt idx="76">
                  <c:v>270.57898019881861</c:v>
                </c:pt>
                <c:pt idx="77">
                  <c:v>272.26350689245476</c:v>
                </c:pt>
                <c:pt idx="78">
                  <c:v>273.92769076251312</c:v>
                </c:pt>
                <c:pt idx="79">
                  <c:v>275.57139368479761</c:v>
                </c:pt>
                <c:pt idx="80">
                  <c:v>277.19450306815105</c:v>
                </c:pt>
                <c:pt idx="81">
                  <c:v>278.79692953854641</c:v>
                </c:pt>
                <c:pt idx="82">
                  <c:v>280.37860479160605</c:v>
                </c:pt>
                <c:pt idx="83">
                  <c:v>281.93947985822535</c:v>
                </c:pt>
                <c:pt idx="84">
                  <c:v>283.47952350088218</c:v>
                </c:pt>
                <c:pt idx="85">
                  <c:v>284.9987208344773</c:v>
                </c:pt>
                <c:pt idx="86">
                  <c:v>286.49707230398394</c:v>
                </c:pt>
                <c:pt idx="87">
                  <c:v>287.97459240134685</c:v>
                </c:pt>
                <c:pt idx="88">
                  <c:v>289.43130868792252</c:v>
                </c:pt>
                <c:pt idx="89">
                  <c:v>290.86726092065078</c:v>
                </c:pt>
                <c:pt idx="90">
                  <c:v>292.28250030895634</c:v>
                </c:pt>
                <c:pt idx="91">
                  <c:v>293.67708884494016</c:v>
                </c:pt>
                <c:pt idx="92">
                  <c:v>295.0510987010353</c:v>
                </c:pt>
                <c:pt idx="93">
                  <c:v>296.404611744349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4.4114610847069</c:v>
                </c:pt>
                <c:pt idx="32">
                  <c:v>177.68839870455213</c:v>
                </c:pt>
                <c:pt idx="33">
                  <c:v>180.83455174411932</c:v>
                </c:pt>
                <c:pt idx="34">
                  <c:v>183.89770194213733</c:v>
                </c:pt>
                <c:pt idx="35">
                  <c:v>186.96591015205885</c:v>
                </c:pt>
                <c:pt idx="36">
                  <c:v>190.06966013260615</c:v>
                </c:pt>
                <c:pt idx="37">
                  <c:v>193.22243458545955</c:v>
                </c:pt>
                <c:pt idx="38">
                  <c:v>196.43449549324717</c:v>
                </c:pt>
                <c:pt idx="39">
                  <c:v>199.71464311852245</c:v>
                </c:pt>
                <c:pt idx="40">
                  <c:v>203.07084991056266</c:v>
                </c:pt>
                <c:pt idx="41">
                  <c:v>206.51041632201861</c:v>
                </c:pt>
                <c:pt idx="42">
                  <c:v>210.03991192503725</c:v>
                </c:pt>
                <c:pt idx="43">
                  <c:v>213.66476389449952</c:v>
                </c:pt>
                <c:pt idx="44">
                  <c:v>217.38973992784011</c:v>
                </c:pt>
                <c:pt idx="45">
                  <c:v>221.21901221099719</c:v>
                </c:pt>
                <c:pt idx="46">
                  <c:v>225.15617246183288</c:v>
                </c:pt>
                <c:pt idx="47">
                  <c:v>229.20440377219586</c:v>
                </c:pt>
                <c:pt idx="48">
                  <c:v>233.36649938997326</c:v>
                </c:pt>
                <c:pt idx="49">
                  <c:v>237.64486854235869</c:v>
                </c:pt>
                <c:pt idx="50">
                  <c:v>242.04166260970703</c:v>
                </c:pt>
                <c:pt idx="51">
                  <c:v>246.55856693865738</c:v>
                </c:pt>
                <c:pt idx="52">
                  <c:v>251.19688802717653</c:v>
                </c:pt>
                <c:pt idx="53">
                  <c:v>255.95754457655462</c:v>
                </c:pt>
                <c:pt idx="54">
                  <c:v>260.84107633645755</c:v>
                </c:pt>
                <c:pt idx="55">
                  <c:v>265.84763609089111</c:v>
                </c:pt>
                <c:pt idx="56">
                  <c:v>270.97696849849365</c:v>
                </c:pt>
                <c:pt idx="57">
                  <c:v>276.22840299458346</c:v>
                </c:pt>
                <c:pt idx="58">
                  <c:v>281.60077575158033</c:v>
                </c:pt>
                <c:pt idx="59">
                  <c:v>287.09242823982964</c:v>
                </c:pt>
                <c:pt idx="60">
                  <c:v>292.70125927586446</c:v>
                </c:pt>
                <c:pt idx="61">
                  <c:v>298.42465654004934</c:v>
                </c:pt>
                <c:pt idx="62">
                  <c:v>304.25945002379018</c:v>
                </c:pt>
                <c:pt idx="63">
                  <c:v>310.20197419120137</c:v>
                </c:pt>
                <c:pt idx="64">
                  <c:v>316.24804428854486</c:v>
                </c:pt>
                <c:pt idx="65">
                  <c:v>322.39291492600728</c:v>
                </c:pt>
                <c:pt idx="66">
                  <c:v>328.63131074712214</c:v>
                </c:pt>
                <c:pt idx="67">
                  <c:v>334.95745071700969</c:v>
                </c:pt>
                <c:pt idx="68">
                  <c:v>341.36507265047459</c:v>
                </c:pt>
                <c:pt idx="69">
                  <c:v>347.8474608096779</c:v>
                </c:pt>
                <c:pt idx="70">
                  <c:v>354.39772925106837</c:v>
                </c:pt>
                <c:pt idx="71">
                  <c:v>361.00879843222702</c:v>
                </c:pt>
                <c:pt idx="72">
                  <c:v>367.67336797665774</c:v>
                </c:pt>
                <c:pt idx="73">
                  <c:v>374.3839250131789</c:v>
                </c:pt>
                <c:pt idx="74">
                  <c:v>381.13277185366928</c:v>
                </c:pt>
                <c:pt idx="75">
                  <c:v>387.91206371756886</c:v>
                </c:pt>
                <c:pt idx="76">
                  <c:v>394.71385061533522</c:v>
                </c:pt>
                <c:pt idx="77">
                  <c:v>401.53011981528198</c:v>
                </c:pt>
                <c:pt idx="78">
                  <c:v>408.35283762843187</c:v>
                </c:pt>
                <c:pt idx="79">
                  <c:v>415.17398804021377</c:v>
                </c:pt>
                <c:pt idx="80">
                  <c:v>421.98561368743179</c:v>
                </c:pt>
                <c:pt idx="81">
                  <c:v>428.77985647035871</c:v>
                </c:pt>
                <c:pt idx="82">
                  <c:v>435.54899713922447</c:v>
                </c:pt>
                <c:pt idx="83">
                  <c:v>442.28549426883245</c:v>
                </c:pt>
                <c:pt idx="84">
                  <c:v>448.98202132425899</c:v>
                </c:pt>
                <c:pt idx="85">
                  <c:v>455.63150162703323</c:v>
                </c:pt>
                <c:pt idx="86">
                  <c:v>462.22714143807076</c:v>
                </c:pt>
                <c:pt idx="87">
                  <c:v>468.76245888555371</c:v>
                </c:pt>
                <c:pt idx="88">
                  <c:v>475.23131029835923</c:v>
                </c:pt>
                <c:pt idx="89">
                  <c:v>481.62791315935118</c:v>
                </c:pt>
                <c:pt idx="90">
                  <c:v>487.94686565881591</c:v>
                </c:pt>
                <c:pt idx="91">
                  <c:v>494.18316263766508</c:v>
                </c:pt>
                <c:pt idx="92">
                  <c:v>500.33220787912455</c:v>
                </c:pt>
                <c:pt idx="93">
                  <c:v>506.389822930556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4.4114610847069</c:v>
                </c:pt>
                <c:pt idx="32">
                  <c:v>177.68839870455213</c:v>
                </c:pt>
                <c:pt idx="33">
                  <c:v>180.83455174411932</c:v>
                </c:pt>
                <c:pt idx="34">
                  <c:v>183.94173236886368</c:v>
                </c:pt>
                <c:pt idx="35">
                  <c:v>187.07631793677641</c:v>
                </c:pt>
                <c:pt idx="36">
                  <c:v>190.28198704594035</c:v>
                </c:pt>
                <c:pt idx="37">
                  <c:v>193.58570509971784</c:v>
                </c:pt>
                <c:pt idx="38">
                  <c:v>197.00799606336244</c:v>
                </c:pt>
                <c:pt idx="39">
                  <c:v>200.56646046198301</c:v>
                </c:pt>
                <c:pt idx="40">
                  <c:v>204.27704319413343</c:v>
                </c:pt>
                <c:pt idx="41">
                  <c:v>208.15434516511533</c:v>
                </c:pt>
                <c:pt idx="42">
                  <c:v>212.21150551922258</c:v>
                </c:pt>
                <c:pt idx="43">
                  <c:v>216.45937860621711</c:v>
                </c:pt>
                <c:pt idx="44">
                  <c:v>220.90749982096864</c:v>
                </c:pt>
                <c:pt idx="45">
                  <c:v>225.5642135353531</c:v>
                </c:pt>
                <c:pt idx="46">
                  <c:v>230.43670318509385</c:v>
                </c:pt>
                <c:pt idx="47">
                  <c:v>235.53133495388983</c:v>
                </c:pt>
                <c:pt idx="48">
                  <c:v>240.85369533751464</c:v>
                </c:pt>
                <c:pt idx="49">
                  <c:v>246.40860279035616</c:v>
                </c:pt>
                <c:pt idx="50">
                  <c:v>252.20036007312282</c:v>
                </c:pt>
                <c:pt idx="51">
                  <c:v>258.23233787909317</c:v>
                </c:pt>
                <c:pt idx="52">
                  <c:v>264.50714920420114</c:v>
                </c:pt>
                <c:pt idx="53">
                  <c:v>271.0266314510277</c:v>
                </c:pt>
                <c:pt idx="54">
                  <c:v>277.79186411890328</c:v>
                </c:pt>
                <c:pt idx="55">
                  <c:v>284.80315277584072</c:v>
                </c:pt>
                <c:pt idx="56">
                  <c:v>292.05998673911574</c:v>
                </c:pt>
                <c:pt idx="57">
                  <c:v>299.56102487936505</c:v>
                </c:pt>
                <c:pt idx="58">
                  <c:v>307.30393954142909</c:v>
                </c:pt>
                <c:pt idx="59">
                  <c:v>315.28541366599768</c:v>
                </c:pt>
                <c:pt idx="60">
                  <c:v>323.50124488613733</c:v>
                </c:pt>
                <c:pt idx="61">
                  <c:v>331.94620856257706</c:v>
                </c:pt>
                <c:pt idx="62">
                  <c:v>340.6139646781287</c:v>
                </c:pt>
                <c:pt idx="63">
                  <c:v>349.49718216102076</c:v>
                </c:pt>
                <c:pt idx="64">
                  <c:v>358.58749150377804</c:v>
                </c:pt>
                <c:pt idx="65">
                  <c:v>367.87540192677255</c:v>
                </c:pt>
                <c:pt idx="66">
                  <c:v>377.35036271707258</c:v>
                </c:pt>
                <c:pt idx="67">
                  <c:v>387.0008118049177</c:v>
                </c:pt>
                <c:pt idx="68">
                  <c:v>396.81422481991717</c:v>
                </c:pt>
                <c:pt idx="69">
                  <c:v>406.7771702863941</c:v>
                </c:pt>
                <c:pt idx="70">
                  <c:v>416.87587631724506</c:v>
                </c:pt>
                <c:pt idx="71">
                  <c:v>427.09618382763199</c:v>
                </c:pt>
                <c:pt idx="72">
                  <c:v>437.42349206456345</c:v>
                </c:pt>
                <c:pt idx="73">
                  <c:v>447.84277528567543</c:v>
                </c:pt>
                <c:pt idx="74">
                  <c:v>458.33863811472622</c:v>
                </c:pt>
                <c:pt idx="75">
                  <c:v>468.89539099059567</c:v>
                </c:pt>
                <c:pt idx="76">
                  <c:v>479.49713393419842</c:v>
                </c:pt>
                <c:pt idx="77">
                  <c:v>490.1278414821623</c:v>
                </c:pt>
                <c:pt idx="78">
                  <c:v>500.7714462565321</c:v>
                </c:pt>
                <c:pt idx="79">
                  <c:v>511.41191622816552</c:v>
                </c:pt>
                <c:pt idx="80">
                  <c:v>522.03333667067159</c:v>
                </c:pt>
                <c:pt idx="81">
                  <c:v>532.61999138459544</c:v>
                </c:pt>
                <c:pt idx="82">
                  <c:v>543.15644187039697</c:v>
                </c:pt>
                <c:pt idx="83">
                  <c:v>553.62760527768296</c:v>
                </c:pt>
                <c:pt idx="84">
                  <c:v>564.01882853660675</c:v>
                </c:pt>
                <c:pt idx="85">
                  <c:v>574.31595829022456</c:v>
                </c:pt>
                <c:pt idx="86">
                  <c:v>584.50540706037032</c:v>
                </c:pt>
                <c:pt idx="87">
                  <c:v>594.5742111034059</c:v>
                </c:pt>
                <c:pt idx="88">
                  <c:v>604.51008307708662</c:v>
                </c:pt>
                <c:pt idx="89">
                  <c:v>614.30145794714053</c:v>
                </c:pt>
                <c:pt idx="90">
                  <c:v>623.93753209414001</c:v>
                </c:pt>
                <c:pt idx="91">
                  <c:v>633.40829519990837</c:v>
                </c:pt>
                <c:pt idx="92">
                  <c:v>642.70455483089734</c:v>
                </c:pt>
                <c:pt idx="93">
                  <c:v>651.81795408183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6</c:v>
                </c:pt>
                <c:pt idx="1">
                  <c:v>10</c:v>
                </c:pt>
                <c:pt idx="2">
                  <c:v>18</c:v>
                </c:pt>
                <c:pt idx="3">
                  <c:v>24</c:v>
                </c:pt>
                <c:pt idx="4">
                  <c:v>29</c:v>
                </c:pt>
                <c:pt idx="5">
                  <c:v>34</c:v>
                </c:pt>
                <c:pt idx="6">
                  <c:v>39</c:v>
                </c:pt>
                <c:pt idx="7">
                  <c:v>47</c:v>
                </c:pt>
                <c:pt idx="8">
                  <c:v>48</c:v>
                </c:pt>
                <c:pt idx="9">
                  <c:v>56</c:v>
                </c:pt>
                <c:pt idx="10">
                  <c:v>60</c:v>
                </c:pt>
                <c:pt idx="11">
                  <c:v>63</c:v>
                </c:pt>
                <c:pt idx="12">
                  <c:v>67</c:v>
                </c:pt>
                <c:pt idx="13">
                  <c:v>76</c:v>
                </c:pt>
                <c:pt idx="14">
                  <c:v>82</c:v>
                </c:pt>
                <c:pt idx="15">
                  <c:v>89</c:v>
                </c:pt>
                <c:pt idx="16">
                  <c:v>95</c:v>
                </c:pt>
                <c:pt idx="17">
                  <c:v>98</c:v>
                </c:pt>
                <c:pt idx="18">
                  <c:v>103</c:v>
                </c:pt>
                <c:pt idx="19">
                  <c:v>107</c:v>
                </c:pt>
                <c:pt idx="20">
                  <c:v>116</c:v>
                </c:pt>
                <c:pt idx="21">
                  <c:v>120</c:v>
                </c:pt>
                <c:pt idx="22">
                  <c:v>123</c:v>
                </c:pt>
                <c:pt idx="23">
                  <c:v>124</c:v>
                </c:pt>
                <c:pt idx="24">
                  <c:v>124</c:v>
                </c:pt>
                <c:pt idx="25">
                  <c:v>128</c:v>
                </c:pt>
                <c:pt idx="26">
                  <c:v>131</c:v>
                </c:pt>
                <c:pt idx="27">
                  <c:v>135</c:v>
                </c:pt>
                <c:pt idx="28">
                  <c:v>138</c:v>
                </c:pt>
                <c:pt idx="29">
                  <c:v>140</c:v>
                </c:pt>
                <c:pt idx="30">
                  <c:v>140</c:v>
                </c:pt>
                <c:pt idx="31">
                  <c:v>144</c:v>
                </c:pt>
                <c:pt idx="32">
                  <c:v>146</c:v>
                </c:pt>
                <c:pt idx="33">
                  <c:v>146</c:v>
                </c:pt>
                <c:pt idx="34">
                  <c:v>149</c:v>
                </c:pt>
                <c:pt idx="35">
                  <c:v>152</c:v>
                </c:pt>
                <c:pt idx="36">
                  <c:v>156</c:v>
                </c:pt>
                <c:pt idx="37">
                  <c:v>157</c:v>
                </c:pt>
                <c:pt idx="38">
                  <c:v>157</c:v>
                </c:pt>
                <c:pt idx="39">
                  <c:v>157</c:v>
                </c:pt>
                <c:pt idx="40">
                  <c:v>158</c:v>
                </c:pt>
                <c:pt idx="41">
                  <c:v>159</c:v>
                </c:pt>
                <c:pt idx="42">
                  <c:v>162</c:v>
                </c:pt>
                <c:pt idx="43">
                  <c:v>162</c:v>
                </c:pt>
                <c:pt idx="44">
                  <c:v>162</c:v>
                </c:pt>
                <c:pt idx="45">
                  <c:v>163</c:v>
                </c:pt>
                <c:pt idx="46">
                  <c:v>164</c:v>
                </c:pt>
                <c:pt idx="47">
                  <c:v>164</c:v>
                </c:pt>
                <c:pt idx="48">
                  <c:v>166</c:v>
                </c:pt>
                <c:pt idx="49">
                  <c:v>167</c:v>
                </c:pt>
                <c:pt idx="50">
                  <c:v>168</c:v>
                </c:pt>
                <c:pt idx="51">
                  <c:v>168</c:v>
                </c:pt>
                <c:pt idx="52">
                  <c:v>171</c:v>
                </c:pt>
                <c:pt idx="53">
                  <c:v>172</c:v>
                </c:pt>
                <c:pt idx="54">
                  <c:v>172</c:v>
                </c:pt>
                <c:pt idx="55">
                  <c:v>175</c:v>
                </c:pt>
                <c:pt idx="56">
                  <c:v>175</c:v>
                </c:pt>
                <c:pt idx="57">
                  <c:v>176</c:v>
                </c:pt>
                <c:pt idx="58">
                  <c:v>179</c:v>
                </c:pt>
                <c:pt idx="59">
                  <c:v>180</c:v>
                </c:pt>
                <c:pt idx="60">
                  <c:v>186</c:v>
                </c:pt>
                <c:pt idx="61">
                  <c:v>190</c:v>
                </c:pt>
                <c:pt idx="62">
                  <c:v>192</c:v>
                </c:pt>
                <c:pt idx="63">
                  <c:v>192</c:v>
                </c:pt>
                <c:pt idx="64">
                  <c:v>193</c:v>
                </c:pt>
                <c:pt idx="65">
                  <c:v>197</c:v>
                </c:pt>
                <c:pt idx="66">
                  <c:v>197</c:v>
                </c:pt>
                <c:pt idx="67">
                  <c:v>197</c:v>
                </c:pt>
                <c:pt idx="68">
                  <c:v>200</c:v>
                </c:pt>
                <c:pt idx="69">
                  <c:v>205</c:v>
                </c:pt>
                <c:pt idx="70">
                  <c:v>208</c:v>
                </c:pt>
                <c:pt idx="71">
                  <c:v>210</c:v>
                </c:pt>
                <c:pt idx="72">
                  <c:v>211</c:v>
                </c:pt>
                <c:pt idx="73">
                  <c:v>214</c:v>
                </c:pt>
                <c:pt idx="74">
                  <c:v>215</c:v>
                </c:pt>
                <c:pt idx="75">
                  <c:v>217</c:v>
                </c:pt>
                <c:pt idx="76">
                  <c:v>218</c:v>
                </c:pt>
                <c:pt idx="77">
                  <c:v>219</c:v>
                </c:pt>
                <c:pt idx="78">
                  <c:v>221</c:v>
                </c:pt>
                <c:pt idx="79">
                  <c:v>222</c:v>
                </c:pt>
                <c:pt idx="80">
                  <c:v>224</c:v>
                </c:pt>
                <c:pt idx="81">
                  <c:v>226</c:v>
                </c:pt>
                <c:pt idx="82">
                  <c:v>229</c:v>
                </c:pt>
                <c:pt idx="83">
                  <c:v>232</c:v>
                </c:pt>
                <c:pt idx="84">
                  <c:v>236</c:v>
                </c:pt>
                <c:pt idx="85">
                  <c:v>236</c:v>
                </c:pt>
                <c:pt idx="86">
                  <c:v>237</c:v>
                </c:pt>
                <c:pt idx="87">
                  <c:v>240</c:v>
                </c:pt>
                <c:pt idx="88">
                  <c:v>240</c:v>
                </c:pt>
                <c:pt idx="89">
                  <c:v>241</c:v>
                </c:pt>
                <c:pt idx="90">
                  <c:v>245</c:v>
                </c:pt>
                <c:pt idx="91">
                  <c:v>246</c:v>
                </c:pt>
                <c:pt idx="92">
                  <c:v>246</c:v>
                </c:pt>
                <c:pt idx="93">
                  <c:v>2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43.39448864149938</c:v>
                </c:pt>
                <c:pt idx="32">
                  <c:v>146.65512308910658</c:v>
                </c:pt>
                <c:pt idx="33">
                  <c:v>149.78562362598936</c:v>
                </c:pt>
                <c:pt idx="34">
                  <c:v>152.78972290090647</c:v>
                </c:pt>
                <c:pt idx="35">
                  <c:v>155.67115349274721</c:v>
                </c:pt>
                <c:pt idx="36">
                  <c:v>158.4367526506411</c:v>
                </c:pt>
                <c:pt idx="37">
                  <c:v>161.08997200965791</c:v>
                </c:pt>
                <c:pt idx="38">
                  <c:v>163.63424899362531</c:v>
                </c:pt>
                <c:pt idx="39">
                  <c:v>166.07299871603556</c:v>
                </c:pt>
                <c:pt idx="40">
                  <c:v>168.4096067272927</c:v>
                </c:pt>
                <c:pt idx="41">
                  <c:v>170.67311739876621</c:v>
                </c:pt>
                <c:pt idx="42">
                  <c:v>172.88517688270818</c:v>
                </c:pt>
                <c:pt idx="43">
                  <c:v>175.05903554435545</c:v>
                </c:pt>
                <c:pt idx="44">
                  <c:v>177.20319116276525</c:v>
                </c:pt>
                <c:pt idx="45">
                  <c:v>179.32352843465569</c:v>
                </c:pt>
                <c:pt idx="46">
                  <c:v>181.42453100081539</c:v>
                </c:pt>
                <c:pt idx="47">
                  <c:v>183.50980655251422</c:v>
                </c:pt>
                <c:pt idx="48">
                  <c:v>185.58227150477711</c:v>
                </c:pt>
                <c:pt idx="49">
                  <c:v>187.64418200862545</c:v>
                </c:pt>
                <c:pt idx="50">
                  <c:v>189.69693823219427</c:v>
                </c:pt>
                <c:pt idx="51">
                  <c:v>191.7414205977141</c:v>
                </c:pt>
                <c:pt idx="52">
                  <c:v>193.77808133488827</c:v>
                </c:pt>
                <c:pt idx="53">
                  <c:v>195.80700037400598</c:v>
                </c:pt>
                <c:pt idx="54">
                  <c:v>197.82802678219835</c:v>
                </c:pt>
                <c:pt idx="55">
                  <c:v>199.84082635687119</c:v>
                </c:pt>
                <c:pt idx="56">
                  <c:v>201.84492171794196</c:v>
                </c:pt>
                <c:pt idx="57">
                  <c:v>203.83979673874919</c:v>
                </c:pt>
                <c:pt idx="58">
                  <c:v>205.8248013957656</c:v>
                </c:pt>
                <c:pt idx="59">
                  <c:v>207.79922897558245</c:v>
                </c:pt>
                <c:pt idx="60">
                  <c:v>209.76233624098845</c:v>
                </c:pt>
                <c:pt idx="61">
                  <c:v>211.71337217648269</c:v>
                </c:pt>
                <c:pt idx="62">
                  <c:v>213.65159411977092</c:v>
                </c:pt>
                <c:pt idx="63">
                  <c:v>215.57627526592535</c:v>
                </c:pt>
                <c:pt idx="64">
                  <c:v>217.48671968745583</c:v>
                </c:pt>
                <c:pt idx="65">
                  <c:v>219.38223000713626</c:v>
                </c:pt>
                <c:pt idx="66">
                  <c:v>221.26211992942649</c:v>
                </c:pt>
                <c:pt idx="67">
                  <c:v>223.12575697778828</c:v>
                </c:pt>
                <c:pt idx="68">
                  <c:v>224.97253088583099</c:v>
                </c:pt>
                <c:pt idx="69">
                  <c:v>226.80183298191565</c:v>
                </c:pt>
                <c:pt idx="70">
                  <c:v>228.61316994848292</c:v>
                </c:pt>
                <c:pt idx="71">
                  <c:v>230.40613394202833</c:v>
                </c:pt>
                <c:pt idx="72">
                  <c:v>232.1803520615498</c:v>
                </c:pt>
                <c:pt idx="73">
                  <c:v>233.93548723525188</c:v>
                </c:pt>
                <c:pt idx="74">
                  <c:v>235.67123837625493</c:v>
                </c:pt>
                <c:pt idx="75">
                  <c:v>237.38734016991384</c:v>
                </c:pt>
                <c:pt idx="76">
                  <c:v>239.08356238688404</c:v>
                </c:pt>
                <c:pt idx="77">
                  <c:v>240.75970835070112</c:v>
                </c:pt>
                <c:pt idx="78">
                  <c:v>242.41561269901788</c:v>
                </c:pt>
                <c:pt idx="79">
                  <c:v>244.05113799482334</c:v>
                </c:pt>
                <c:pt idx="80">
                  <c:v>245.66617220711532</c:v>
                </c:pt>
                <c:pt idx="81">
                  <c:v>247.26062640651372</c:v>
                </c:pt>
                <c:pt idx="82">
                  <c:v>248.83443262846362</c:v>
                </c:pt>
                <c:pt idx="83">
                  <c:v>250.38754214748778</c:v>
                </c:pt>
                <c:pt idx="84">
                  <c:v>251.91992388147466</c:v>
                </c:pt>
                <c:pt idx="85">
                  <c:v>253.43156301938026</c:v>
                </c:pt>
                <c:pt idx="86">
                  <c:v>254.92246000396398</c:v>
                </c:pt>
                <c:pt idx="87">
                  <c:v>256.39262925507131</c:v>
                </c:pt>
                <c:pt idx="88">
                  <c:v>257.84209819693763</c:v>
                </c:pt>
                <c:pt idx="89">
                  <c:v>259.27090638870703</c:v>
                </c:pt>
                <c:pt idx="90">
                  <c:v>260.67910478503097</c:v>
                </c:pt>
                <c:pt idx="91">
                  <c:v>262.06675506959198</c:v>
                </c:pt>
                <c:pt idx="92">
                  <c:v>263.43392905575632</c:v>
                </c:pt>
                <c:pt idx="93">
                  <c:v>264.780708203332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43.39448864149938</c:v>
                </c:pt>
                <c:pt idx="32">
                  <c:v>146.65512308910658</c:v>
                </c:pt>
                <c:pt idx="33">
                  <c:v>149.78562362598936</c:v>
                </c:pt>
                <c:pt idx="34">
                  <c:v>152.83353427078342</c:v>
                </c:pt>
                <c:pt idx="35">
                  <c:v>155.88647776324265</c:v>
                </c:pt>
                <c:pt idx="36">
                  <c:v>158.97478620159816</c:v>
                </c:pt>
                <c:pt idx="37">
                  <c:v>162.11187520941252</c:v>
                </c:pt>
                <c:pt idx="38">
                  <c:v>165.30795571467382</c:v>
                </c:pt>
                <c:pt idx="39">
                  <c:v>168.57178419753481</c:v>
                </c:pt>
                <c:pt idx="40">
                  <c:v>171.91129344334595</c:v>
                </c:pt>
                <c:pt idx="41">
                  <c:v>175.33374758409815</c:v>
                </c:pt>
                <c:pt idx="42">
                  <c:v>178.84568350749976</c:v>
                </c:pt>
                <c:pt idx="43">
                  <c:v>182.45250138756171</c:v>
                </c:pt>
                <c:pt idx="44">
                  <c:v>186.15894520183096</c:v>
                </c:pt>
                <c:pt idx="45">
                  <c:v>189.96916637910169</c:v>
                </c:pt>
                <c:pt idx="46">
                  <c:v>193.88673876799291</c:v>
                </c:pt>
                <c:pt idx="47">
                  <c:v>197.91482962407548</c:v>
                </c:pt>
                <c:pt idx="48">
                  <c:v>202.05621829848087</c:v>
                </c:pt>
                <c:pt idx="49">
                  <c:v>206.31330203219773</c:v>
                </c:pt>
                <c:pt idx="50">
                  <c:v>210.68822150219606</c:v>
                </c:pt>
                <c:pt idx="51">
                  <c:v>215.18265367030585</c:v>
                </c:pt>
                <c:pt idx="52">
                  <c:v>219.79789853450401</c:v>
                </c:pt>
                <c:pt idx="53">
                  <c:v>224.53487022542751</c:v>
                </c:pt>
                <c:pt idx="54">
                  <c:v>229.39410580742049</c:v>
                </c:pt>
                <c:pt idx="55">
                  <c:v>234.3757573043693</c:v>
                </c:pt>
                <c:pt idx="56">
                  <c:v>239.47957064526733</c:v>
                </c:pt>
                <c:pt idx="57">
                  <c:v>244.70487860157559</c:v>
                </c:pt>
                <c:pt idx="58">
                  <c:v>250.05052313590079</c:v>
                </c:pt>
                <c:pt idx="59">
                  <c:v>255.5148539699797</c:v>
                </c:pt>
                <c:pt idx="60">
                  <c:v>261.09578037399444</c:v>
                </c:pt>
                <c:pt idx="61">
                  <c:v>266.79070302492465</c:v>
                </c:pt>
                <c:pt idx="62">
                  <c:v>272.59646768536328</c:v>
                </c:pt>
                <c:pt idx="63">
                  <c:v>278.50942705592166</c:v>
                </c:pt>
                <c:pt idx="64">
                  <c:v>284.52541720253208</c:v>
                </c:pt>
                <c:pt idx="65">
                  <c:v>290.63971634428572</c:v>
                </c:pt>
                <c:pt idx="66">
                  <c:v>296.84707537027066</c:v>
                </c:pt>
                <c:pt idx="67">
                  <c:v>303.14174200697471</c:v>
                </c:pt>
                <c:pt idx="68">
                  <c:v>309.5174852243527</c:v>
                </c:pt>
                <c:pt idx="69">
                  <c:v>315.96762269619677</c:v>
                </c:pt>
                <c:pt idx="70">
                  <c:v>322.48530273738135</c:v>
                </c:pt>
                <c:pt idx="71">
                  <c:v>329.06348102709143</c:v>
                </c:pt>
                <c:pt idx="72">
                  <c:v>335.69489350911203</c:v>
                </c:pt>
                <c:pt idx="73">
                  <c:v>342.37206468973011</c:v>
                </c:pt>
                <c:pt idx="74">
                  <c:v>349.08733517778029</c:v>
                </c:pt>
                <c:pt idx="75">
                  <c:v>355.83289922146145</c:v>
                </c:pt>
                <c:pt idx="76">
                  <c:v>362.600846383418</c:v>
                </c:pt>
                <c:pt idx="77">
                  <c:v>369.38320379630039</c:v>
                </c:pt>
                <c:pt idx="78">
                  <c:v>376.17197773973311</c:v>
                </c:pt>
                <c:pt idx="79">
                  <c:v>382.95919207981456</c:v>
                </c:pt>
                <c:pt idx="80">
                  <c:v>389.73692904222059</c:v>
                </c:pt>
                <c:pt idx="81">
                  <c:v>396.49736962224739</c:v>
                </c:pt>
                <c:pt idx="82">
                  <c:v>403.23283297435262</c:v>
                </c:pt>
                <c:pt idx="83">
                  <c:v>409.93581519286806</c:v>
                </c:pt>
                <c:pt idx="84">
                  <c:v>416.5990261932925</c:v>
                </c:pt>
                <c:pt idx="85">
                  <c:v>423.21542450451068</c:v>
                </c:pt>
                <c:pt idx="86">
                  <c:v>429.77825018713509</c:v>
                </c:pt>
                <c:pt idx="87">
                  <c:v>436.2810536174664</c:v>
                </c:pt>
                <c:pt idx="88">
                  <c:v>442.71772168990969</c:v>
                </c:pt>
                <c:pt idx="89">
                  <c:v>449.08250065607086</c:v>
                </c:pt>
                <c:pt idx="90">
                  <c:v>455.37001558091134</c:v>
                </c:pt>
                <c:pt idx="91">
                  <c:v>461.57528620663192</c:v>
                </c:pt>
                <c:pt idx="92">
                  <c:v>467.69373918320849</c:v>
                </c:pt>
                <c:pt idx="93">
                  <c:v>473.721216846325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43.39448864149938</c:v>
                </c:pt>
                <c:pt idx="32">
                  <c:v>146.65512308910658</c:v>
                </c:pt>
                <c:pt idx="33">
                  <c:v>149.78562362598936</c:v>
                </c:pt>
                <c:pt idx="34">
                  <c:v>152.87734564066037</c:v>
                </c:pt>
                <c:pt idx="35">
                  <c:v>155.9963362554989</c:v>
                </c:pt>
                <c:pt idx="36">
                  <c:v>159.18605676212968</c:v>
                </c:pt>
                <c:pt idx="37">
                  <c:v>162.47333840767942</c:v>
                </c:pt>
                <c:pt idx="38">
                  <c:v>165.87860304812182</c:v>
                </c:pt>
                <c:pt idx="39">
                  <c:v>169.4193636437642</c:v>
                </c:pt>
                <c:pt idx="40">
                  <c:v>173.1114857653069</c:v>
                </c:pt>
                <c:pt idx="41">
                  <c:v>176.96949767673169</c:v>
                </c:pt>
                <c:pt idx="42">
                  <c:v>181.00647315345532</c:v>
                </c:pt>
                <c:pt idx="43">
                  <c:v>185.2332125434996</c:v>
                </c:pt>
                <c:pt idx="44">
                  <c:v>189.65920380195885</c:v>
                </c:pt>
                <c:pt idx="45">
                  <c:v>194.29274978642101</c:v>
                </c:pt>
                <c:pt idx="46">
                  <c:v>199.14099819412323</c:v>
                </c:pt>
                <c:pt idx="47">
                  <c:v>204.21028353620878</c:v>
                </c:pt>
                <c:pt idx="48">
                  <c:v>209.50616451493994</c:v>
                </c:pt>
                <c:pt idx="49">
                  <c:v>215.03343561229468</c:v>
                </c:pt>
                <c:pt idx="50">
                  <c:v>220.79637818221175</c:v>
                </c:pt>
                <c:pt idx="51">
                  <c:v>226.79834614835141</c:v>
                </c:pt>
                <c:pt idx="52">
                  <c:v>233.0419395066678</c:v>
                </c:pt>
                <c:pt idx="53">
                  <c:v>239.52898651843552</c:v>
                </c:pt>
                <c:pt idx="54">
                  <c:v>246.26056131234154</c:v>
                </c:pt>
                <c:pt idx="55">
                  <c:v>253.23696793615989</c:v>
                </c:pt>
                <c:pt idx="56">
                  <c:v>260.45769824787635</c:v>
                </c:pt>
                <c:pt idx="57">
                  <c:v>267.92141779041299</c:v>
                </c:pt>
                <c:pt idx="58">
                  <c:v>275.62581048898414</c:v>
                </c:pt>
                <c:pt idx="59">
                  <c:v>283.56757578706237</c:v>
                </c:pt>
                <c:pt idx="60">
                  <c:v>291.74253222501227</c:v>
                </c:pt>
                <c:pt idx="61">
                  <c:v>300.1454811567931</c:v>
                </c:pt>
                <c:pt idx="62">
                  <c:v>308.77011410759076</c:v>
                </c:pt>
                <c:pt idx="63">
                  <c:v>317.60913647862765</c:v>
                </c:pt>
                <c:pt idx="64">
                  <c:v>326.65422040176918</c:v>
                </c:pt>
                <c:pt idx="65">
                  <c:v>335.89592231519657</c:v>
                </c:pt>
                <c:pt idx="66">
                  <c:v>345.32374399708715</c:v>
                </c:pt>
                <c:pt idx="67">
                  <c:v>354.92618090041566</c:v>
                </c:pt>
                <c:pt idx="68">
                  <c:v>364.69077096509176</c:v>
                </c:pt>
                <c:pt idx="69">
                  <c:v>374.6041495387006</c:v>
                </c:pt>
                <c:pt idx="70">
                  <c:v>384.6526132509901</c:v>
                </c:pt>
                <c:pt idx="71">
                  <c:v>394.82207346033033</c:v>
                </c:pt>
                <c:pt idx="72">
                  <c:v>405.09800205429195</c:v>
                </c:pt>
                <c:pt idx="73">
                  <c:v>415.46544804544817</c:v>
                </c:pt>
                <c:pt idx="74">
                  <c:v>425.90909265146888</c:v>
                </c:pt>
                <c:pt idx="75">
                  <c:v>436.41332436875194</c:v>
                </c:pt>
                <c:pt idx="76">
                  <c:v>446.96232232258552</c:v>
                </c:pt>
                <c:pt idx="77">
                  <c:v>457.540140778271</c:v>
                </c:pt>
                <c:pt idx="78">
                  <c:v>468.13079229505689</c:v>
                </c:pt>
                <c:pt idx="79">
                  <c:v>478.71832460513991</c:v>
                </c:pt>
                <c:pt idx="80">
                  <c:v>489.28690215987234</c:v>
                </c:pt>
                <c:pt idx="81">
                  <c:v>499.82088694984634</c:v>
                </c:pt>
                <c:pt idx="82">
                  <c:v>510.30491728397715</c:v>
                </c:pt>
                <c:pt idx="83">
                  <c:v>520.72398535092839</c:v>
                </c:pt>
                <c:pt idx="84">
                  <c:v>531.0635109816983</c:v>
                </c:pt>
                <c:pt idx="85">
                  <c:v>541.30941123405432</c:v>
                </c:pt>
                <c:pt idx="86">
                  <c:v>551.44816622922417</c:v>
                </c:pt>
                <c:pt idx="87">
                  <c:v>561.46687671980681</c:v>
                </c:pt>
                <c:pt idx="88">
                  <c:v>571.35331649461352</c:v>
                </c:pt>
                <c:pt idx="89">
                  <c:v>581.09597805685621</c:v>
                </c:pt>
                <c:pt idx="90">
                  <c:v>590.68411153645764</c:v>
                </c:pt>
                <c:pt idx="91">
                  <c:v>600.10775641781925</c:v>
                </c:pt>
                <c:pt idx="92">
                  <c:v>609.35776600089287</c:v>
                </c:pt>
                <c:pt idx="93">
                  <c:v>618.425824957046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63</c:v>
                </c:pt>
                <c:pt idx="1">
                  <c:v>56</c:v>
                </c:pt>
                <c:pt idx="2">
                  <c:v>58</c:v>
                </c:pt>
                <c:pt idx="3">
                  <c:v>63</c:v>
                </c:pt>
                <c:pt idx="4">
                  <c:v>69</c:v>
                </c:pt>
                <c:pt idx="5">
                  <c:v>76</c:v>
                </c:pt>
                <c:pt idx="6">
                  <c:v>74</c:v>
                </c:pt>
                <c:pt idx="7">
                  <c:v>79</c:v>
                </c:pt>
                <c:pt idx="8">
                  <c:v>78</c:v>
                </c:pt>
                <c:pt idx="9">
                  <c:v>81</c:v>
                </c:pt>
                <c:pt idx="10">
                  <c:v>73</c:v>
                </c:pt>
                <c:pt idx="11">
                  <c:v>76</c:v>
                </c:pt>
                <c:pt idx="12">
                  <c:v>80</c:v>
                </c:pt>
                <c:pt idx="13">
                  <c:v>79</c:v>
                </c:pt>
                <c:pt idx="14">
                  <c:v>80</c:v>
                </c:pt>
                <c:pt idx="15">
                  <c:v>77</c:v>
                </c:pt>
                <c:pt idx="16">
                  <c:v>78</c:v>
                </c:pt>
                <c:pt idx="17">
                  <c:v>77</c:v>
                </c:pt>
                <c:pt idx="18">
                  <c:v>77</c:v>
                </c:pt>
                <c:pt idx="19">
                  <c:v>73</c:v>
                </c:pt>
                <c:pt idx="20">
                  <c:v>71</c:v>
                </c:pt>
                <c:pt idx="21">
                  <c:v>72</c:v>
                </c:pt>
                <c:pt idx="22">
                  <c:v>63</c:v>
                </c:pt>
                <c:pt idx="23">
                  <c:v>60</c:v>
                </c:pt>
                <c:pt idx="24">
                  <c:v>58</c:v>
                </c:pt>
                <c:pt idx="25">
                  <c:v>66</c:v>
                </c:pt>
                <c:pt idx="26">
                  <c:v>68</c:v>
                </c:pt>
                <c:pt idx="27">
                  <c:v>69</c:v>
                </c:pt>
                <c:pt idx="28">
                  <c:v>70</c:v>
                </c:pt>
                <c:pt idx="29">
                  <c:v>61</c:v>
                </c:pt>
                <c:pt idx="30">
                  <c:v>59</c:v>
                </c:pt>
                <c:pt idx="31">
                  <c:v>59</c:v>
                </c:pt>
                <c:pt idx="32">
                  <c:v>53</c:v>
                </c:pt>
                <c:pt idx="33">
                  <c:v>47</c:v>
                </c:pt>
                <c:pt idx="34">
                  <c:v>44</c:v>
                </c:pt>
                <c:pt idx="35">
                  <c:v>43</c:v>
                </c:pt>
                <c:pt idx="36">
                  <c:v>45</c:v>
                </c:pt>
                <c:pt idx="37">
                  <c:v>42</c:v>
                </c:pt>
                <c:pt idx="38">
                  <c:v>46</c:v>
                </c:pt>
                <c:pt idx="39">
                  <c:v>49</c:v>
                </c:pt>
                <c:pt idx="40">
                  <c:v>50</c:v>
                </c:pt>
                <c:pt idx="41">
                  <c:v>44</c:v>
                </c:pt>
                <c:pt idx="42">
                  <c:v>46</c:v>
                </c:pt>
                <c:pt idx="43">
                  <c:v>42</c:v>
                </c:pt>
                <c:pt idx="44">
                  <c:v>38</c:v>
                </c:pt>
                <c:pt idx="45">
                  <c:v>37</c:v>
                </c:pt>
                <c:pt idx="46">
                  <c:v>35</c:v>
                </c:pt>
                <c:pt idx="47">
                  <c:v>31</c:v>
                </c:pt>
                <c:pt idx="48">
                  <c:v>27</c:v>
                </c:pt>
                <c:pt idx="49">
                  <c:v>25</c:v>
                </c:pt>
                <c:pt idx="50">
                  <c:v>23</c:v>
                </c:pt>
                <c:pt idx="51">
                  <c:v>22</c:v>
                </c:pt>
                <c:pt idx="52">
                  <c:v>20</c:v>
                </c:pt>
                <c:pt idx="53">
                  <c:v>21</c:v>
                </c:pt>
                <c:pt idx="54">
                  <c:v>22</c:v>
                </c:pt>
                <c:pt idx="55">
                  <c:v>23</c:v>
                </c:pt>
                <c:pt idx="56">
                  <c:v>22</c:v>
                </c:pt>
                <c:pt idx="57">
                  <c:v>22</c:v>
                </c:pt>
                <c:pt idx="58">
                  <c:v>21</c:v>
                </c:pt>
                <c:pt idx="59">
                  <c:v>22</c:v>
                </c:pt>
                <c:pt idx="60">
                  <c:v>20</c:v>
                </c:pt>
                <c:pt idx="61">
                  <c:v>23</c:v>
                </c:pt>
                <c:pt idx="62">
                  <c:v>24</c:v>
                </c:pt>
                <c:pt idx="63">
                  <c:v>23</c:v>
                </c:pt>
                <c:pt idx="64">
                  <c:v>18</c:v>
                </c:pt>
                <c:pt idx="65">
                  <c:v>24</c:v>
                </c:pt>
                <c:pt idx="66">
                  <c:v>27</c:v>
                </c:pt>
                <c:pt idx="67">
                  <c:v>28</c:v>
                </c:pt>
                <c:pt idx="68">
                  <c:v>27</c:v>
                </c:pt>
                <c:pt idx="69">
                  <c:v>23</c:v>
                </c:pt>
                <c:pt idx="70">
                  <c:v>23</c:v>
                </c:pt>
                <c:pt idx="71">
                  <c:v>26</c:v>
                </c:pt>
                <c:pt idx="72">
                  <c:v>26</c:v>
                </c:pt>
                <c:pt idx="73">
                  <c:v>25</c:v>
                </c:pt>
                <c:pt idx="74">
                  <c:v>27</c:v>
                </c:pt>
                <c:pt idx="75">
                  <c:v>28</c:v>
                </c:pt>
                <c:pt idx="76">
                  <c:v>29</c:v>
                </c:pt>
                <c:pt idx="77">
                  <c:v>26</c:v>
                </c:pt>
                <c:pt idx="78">
                  <c:v>27</c:v>
                </c:pt>
                <c:pt idx="79">
                  <c:v>26</c:v>
                </c:pt>
                <c:pt idx="80">
                  <c:v>26</c:v>
                </c:pt>
                <c:pt idx="81">
                  <c:v>23</c:v>
                </c:pt>
                <c:pt idx="82">
                  <c:v>25</c:v>
                </c:pt>
                <c:pt idx="83">
                  <c:v>23</c:v>
                </c:pt>
                <c:pt idx="84">
                  <c:v>27</c:v>
                </c:pt>
                <c:pt idx="85">
                  <c:v>29</c:v>
                </c:pt>
                <c:pt idx="86">
                  <c:v>26</c:v>
                </c:pt>
                <c:pt idx="87">
                  <c:v>22</c:v>
                </c:pt>
                <c:pt idx="88">
                  <c:v>21</c:v>
                </c:pt>
                <c:pt idx="89">
                  <c:v>18</c:v>
                </c:pt>
                <c:pt idx="90">
                  <c:v>16</c:v>
                </c:pt>
                <c:pt idx="91">
                  <c:v>16</c:v>
                </c:pt>
                <c:pt idx="92">
                  <c:v>12</c:v>
                </c:pt>
                <c:pt idx="93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2.18770117928414</c:v>
                </c:pt>
                <c:pt idx="32">
                  <c:v>40.711566357810689</c:v>
                </c:pt>
                <c:pt idx="33">
                  <c:v>39.262794416687314</c:v>
                </c:pt>
                <c:pt idx="34">
                  <c:v>37.842608811249619</c:v>
                </c:pt>
                <c:pt idx="35">
                  <c:v>36.452051595348443</c:v>
                </c:pt>
                <c:pt idx="36">
                  <c:v>35.131572753556263</c:v>
                </c:pt>
                <c:pt idx="37">
                  <c:v>33.839446721241487</c:v>
                </c:pt>
                <c:pt idx="38">
                  <c:v>32.576389684230449</c:v>
                </c:pt>
                <c:pt idx="39">
                  <c:v>31.342996390519932</c:v>
                </c:pt>
                <c:pt idx="40">
                  <c:v>30.139781922424909</c:v>
                </c:pt>
                <c:pt idx="41">
                  <c:v>28.990408376173569</c:v>
                </c:pt>
                <c:pt idx="42">
                  <c:v>27.910886108668159</c:v>
                </c:pt>
                <c:pt idx="43">
                  <c:v>26.908795004995056</c:v>
                </c:pt>
                <c:pt idx="44">
                  <c:v>25.986570123033591</c:v>
                </c:pt>
                <c:pt idx="45">
                  <c:v>25.143797218701561</c:v>
                </c:pt>
                <c:pt idx="46">
                  <c:v>24.378502075281222</c:v>
                </c:pt>
                <c:pt idx="47">
                  <c:v>23.68782911969371</c:v>
                </c:pt>
                <c:pt idx="48">
                  <c:v>23.068166221886351</c:v>
                </c:pt>
                <c:pt idx="49">
                  <c:v>22.51530850559579</c:v>
                </c:pt>
                <c:pt idx="50">
                  <c:v>22.024483961608436</c:v>
                </c:pt>
                <c:pt idx="51">
                  <c:v>21.59080424145823</c:v>
                </c:pt>
                <c:pt idx="52">
                  <c:v>21.209206168889164</c:v>
                </c:pt>
                <c:pt idx="53">
                  <c:v>20.874704949418614</c:v>
                </c:pt>
                <c:pt idx="54">
                  <c:v>20.582553598280512</c:v>
                </c:pt>
                <c:pt idx="55">
                  <c:v>20.327739988891857</c:v>
                </c:pt>
                <c:pt idx="56">
                  <c:v>20.104352588305325</c:v>
                </c:pt>
                <c:pt idx="57">
                  <c:v>19.906518995961189</c:v>
                </c:pt>
                <c:pt idx="58">
                  <c:v>19.72915576563388</c:v>
                </c:pt>
                <c:pt idx="59">
                  <c:v>19.56798577978698</c:v>
                </c:pt>
                <c:pt idx="60">
                  <c:v>19.419385218506985</c:v>
                </c:pt>
                <c:pt idx="61">
                  <c:v>19.280276891742485</c:v>
                </c:pt>
                <c:pt idx="62">
                  <c:v>19.148008005787549</c:v>
                </c:pt>
                <c:pt idx="63">
                  <c:v>19.020134575520409</c:v>
                </c:pt>
                <c:pt idx="64">
                  <c:v>18.894524995449469</c:v>
                </c:pt>
                <c:pt idx="65">
                  <c:v>18.769443537645397</c:v>
                </c:pt>
                <c:pt idx="66">
                  <c:v>18.643462624539328</c:v>
                </c:pt>
                <c:pt idx="67">
                  <c:v>18.515489319051017</c:v>
                </c:pt>
                <c:pt idx="68">
                  <c:v>18.384691543949089</c:v>
                </c:pt>
                <c:pt idx="69">
                  <c:v>18.250440669846913</c:v>
                </c:pt>
                <c:pt idx="70">
                  <c:v>18.112307402842756</c:v>
                </c:pt>
                <c:pt idx="71">
                  <c:v>17.970022057334482</c:v>
                </c:pt>
                <c:pt idx="72">
                  <c:v>17.823444508082162</c:v>
                </c:pt>
                <c:pt idx="73">
                  <c:v>17.672520825533304</c:v>
                </c:pt>
                <c:pt idx="74">
                  <c:v>17.51727824274721</c:v>
                </c:pt>
                <c:pt idx="75">
                  <c:v>17.357835782229802</c:v>
                </c:pt>
                <c:pt idx="76">
                  <c:v>17.194377870553581</c:v>
                </c:pt>
                <c:pt idx="77">
                  <c:v>17.027122787352923</c:v>
                </c:pt>
                <c:pt idx="78">
                  <c:v>16.856283937745779</c:v>
                </c:pt>
                <c:pt idx="79">
                  <c:v>16.682078165511783</c:v>
                </c:pt>
                <c:pt idx="80">
                  <c:v>16.504715178032942</c:v>
                </c:pt>
                <c:pt idx="81">
                  <c:v>16.32443470085494</c:v>
                </c:pt>
                <c:pt idx="82">
                  <c:v>16.141495625374279</c:v>
                </c:pt>
                <c:pt idx="83">
                  <c:v>15.95615539260422</c:v>
                </c:pt>
                <c:pt idx="84">
                  <c:v>15.768672444458035</c:v>
                </c:pt>
                <c:pt idx="85">
                  <c:v>15.579298081865984</c:v>
                </c:pt>
                <c:pt idx="86">
                  <c:v>15.38827294045152</c:v>
                </c:pt>
                <c:pt idx="87">
                  <c:v>15.19582673288966</c:v>
                </c:pt>
                <c:pt idx="88">
                  <c:v>15.002178194834457</c:v>
                </c:pt>
                <c:pt idx="89">
                  <c:v>14.807526249464839</c:v>
                </c:pt>
                <c:pt idx="90">
                  <c:v>14.612060726438896</c:v>
                </c:pt>
                <c:pt idx="91">
                  <c:v>14.415963241818663</c:v>
                </c:pt>
                <c:pt idx="92">
                  <c:v>14.219405739546644</c:v>
                </c:pt>
                <c:pt idx="93">
                  <c:v>14.0225498042734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2.18770117928414</c:v>
                </c:pt>
                <c:pt idx="32">
                  <c:v>40.711566357810689</c:v>
                </c:pt>
                <c:pt idx="33">
                  <c:v>39.262794416687314</c:v>
                </c:pt>
                <c:pt idx="34">
                  <c:v>37.92195860538628</c:v>
                </c:pt>
                <c:pt idx="35">
                  <c:v>36.743468177818741</c:v>
                </c:pt>
                <c:pt idx="36">
                  <c:v>35.795541891504868</c:v>
                </c:pt>
                <c:pt idx="37">
                  <c:v>34.847615605190995</c:v>
                </c:pt>
                <c:pt idx="38">
                  <c:v>34.578234429867138</c:v>
                </c:pt>
                <c:pt idx="39">
                  <c:v>34.413673531467566</c:v>
                </c:pt>
                <c:pt idx="40">
                  <c:v>34.353845738293991</c:v>
                </c:pt>
                <c:pt idx="41">
                  <c:v>34.397548636344069</c:v>
                </c:pt>
                <c:pt idx="42">
                  <c:v>34.542607308961983</c:v>
                </c:pt>
                <c:pt idx="43">
                  <c:v>34.785821872875545</c:v>
                </c:pt>
                <c:pt idx="44">
                  <c:v>35.12363511413907</c:v>
                </c:pt>
                <c:pt idx="45">
                  <c:v>35.551938944827413</c:v>
                </c:pt>
                <c:pt idx="46">
                  <c:v>36.066445434778466</c:v>
                </c:pt>
                <c:pt idx="47">
                  <c:v>36.662906828680569</c:v>
                </c:pt>
                <c:pt idx="48">
                  <c:v>37.33621812074842</c:v>
                </c:pt>
                <c:pt idx="49">
                  <c:v>38.079292765144508</c:v>
                </c:pt>
                <c:pt idx="50">
                  <c:v>38.884632426135042</c:v>
                </c:pt>
                <c:pt idx="51">
                  <c:v>39.745542717879658</c:v>
                </c:pt>
                <c:pt idx="52">
                  <c:v>40.656113225321342</c:v>
                </c:pt>
                <c:pt idx="53">
                  <c:v>41.610954303744784</c:v>
                </c:pt>
                <c:pt idx="54">
                  <c:v>42.605039402410213</c:v>
                </c:pt>
                <c:pt idx="55">
                  <c:v>43.633526998385314</c:v>
                </c:pt>
                <c:pt idx="56">
                  <c:v>44.691423012569089</c:v>
                </c:pt>
                <c:pt idx="57">
                  <c:v>45.773782413804895</c:v>
                </c:pt>
                <c:pt idx="58">
                  <c:v>46.875872641079013</c:v>
                </c:pt>
                <c:pt idx="59">
                  <c:v>47.99304148840185</c:v>
                </c:pt>
                <c:pt idx="60">
                  <c:v>49.120794377199445</c:v>
                </c:pt>
                <c:pt idx="61">
                  <c:v>50.254700382539767</c:v>
                </c:pt>
                <c:pt idx="62">
                  <c:v>51.390328771361574</c:v>
                </c:pt>
                <c:pt idx="63">
                  <c:v>52.523163236593234</c:v>
                </c:pt>
                <c:pt idx="64">
                  <c:v>53.648602743291477</c:v>
                </c:pt>
                <c:pt idx="65">
                  <c:v>54.761990183842151</c:v>
                </c:pt>
                <c:pt idx="66">
                  <c:v>55.858595386835987</c:v>
                </c:pt>
                <c:pt idx="67">
                  <c:v>56.933656942392361</c:v>
                </c:pt>
                <c:pt idx="68">
                  <c:v>57.982448473320531</c:v>
                </c:pt>
                <c:pt idx="69">
                  <c:v>59.000280197087349</c:v>
                </c:pt>
                <c:pt idx="70">
                  <c:v>59.982722163787997</c:v>
                </c:pt>
                <c:pt idx="71">
                  <c:v>60.925524198289814</c:v>
                </c:pt>
                <c:pt idx="72">
                  <c:v>61.824611412191587</c:v>
                </c:pt>
                <c:pt idx="73">
                  <c:v>62.676070471927439</c:v>
                </c:pt>
                <c:pt idx="74">
                  <c:v>63.47623561510224</c:v>
                </c:pt>
                <c:pt idx="75">
                  <c:v>64.221696725374954</c:v>
                </c:pt>
                <c:pt idx="76">
                  <c:v>64.90929422240788</c:v>
                </c:pt>
                <c:pt idx="77">
                  <c:v>65.536150984966724</c:v>
                </c:pt>
                <c:pt idx="78">
                  <c:v>66.099686544875098</c:v>
                </c:pt>
                <c:pt idx="79">
                  <c:v>66.597630840711901</c:v>
                </c:pt>
                <c:pt idx="80">
                  <c:v>67.028040512074057</c:v>
                </c:pt>
                <c:pt idx="81">
                  <c:v>67.389310937686645</c:v>
                </c:pt>
                <c:pt idx="82">
                  <c:v>67.680173031859582</c:v>
                </c:pt>
                <c:pt idx="83">
                  <c:v>67.899719620136963</c:v>
                </c:pt>
                <c:pt idx="84">
                  <c:v>68.04740716255094</c:v>
                </c:pt>
                <c:pt idx="85">
                  <c:v>68.123044973735944</c:v>
                </c:pt>
                <c:pt idx="86">
                  <c:v>68.126789708049088</c:v>
                </c:pt>
                <c:pt idx="87">
                  <c:v>68.059144467064087</c:v>
                </c:pt>
                <c:pt idx="88">
                  <c:v>67.920954223338271</c:v>
                </c:pt>
                <c:pt idx="89">
                  <c:v>67.713397656006876</c:v>
                </c:pt>
                <c:pt idx="90">
                  <c:v>67.437975163341392</c:v>
                </c:pt>
                <c:pt idx="91">
                  <c:v>67.096493396474514</c:v>
                </c:pt>
                <c:pt idx="92">
                  <c:v>66.691044577322018</c:v>
                </c:pt>
                <c:pt idx="93">
                  <c:v>66.2239852375317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2.18770117928414</c:v>
                </c:pt>
                <c:pt idx="32">
                  <c:v>40.711566357810689</c:v>
                </c:pt>
                <c:pt idx="33">
                  <c:v>39.262794416687314</c:v>
                </c:pt>
                <c:pt idx="34">
                  <c:v>37.92195860538628</c:v>
                </c:pt>
                <c:pt idx="35">
                  <c:v>36.743468177818741</c:v>
                </c:pt>
                <c:pt idx="36">
                  <c:v>35.795541891504868</c:v>
                </c:pt>
                <c:pt idx="37">
                  <c:v>35.049188860398345</c:v>
                </c:pt>
                <c:pt idx="38">
                  <c:v>34.510426509750623</c:v>
                </c:pt>
                <c:pt idx="39">
                  <c:v>34.181304712951473</c:v>
                </c:pt>
                <c:pt idx="40">
                  <c:v>34.061649126604337</c:v>
                </c:pt>
                <c:pt idx="41">
                  <c:v>34.149054922704508</c:v>
                </c:pt>
                <c:pt idx="42">
                  <c:v>34.439172267940329</c:v>
                </c:pt>
                <c:pt idx="43">
                  <c:v>34.925601395767451</c:v>
                </c:pt>
                <c:pt idx="44">
                  <c:v>35.601227878294502</c:v>
                </c:pt>
                <c:pt idx="45">
                  <c:v>36.45783553967118</c:v>
                </c:pt>
                <c:pt idx="46">
                  <c:v>37.486848519573286</c:v>
                </c:pt>
                <c:pt idx="47">
                  <c:v>38.679771307377493</c:v>
                </c:pt>
                <c:pt idx="48">
                  <c:v>40.026393891513209</c:v>
                </c:pt>
                <c:pt idx="49">
                  <c:v>41.512543180305371</c:v>
                </c:pt>
                <c:pt idx="50">
                  <c:v>43.123222502286445</c:v>
                </c:pt>
                <c:pt idx="51">
                  <c:v>44.845043085775686</c:v>
                </c:pt>
                <c:pt idx="52">
                  <c:v>46.666184100659038</c:v>
                </c:pt>
                <c:pt idx="53">
                  <c:v>48.575866257505915</c:v>
                </c:pt>
                <c:pt idx="54">
                  <c:v>50.56403645483676</c:v>
                </c:pt>
                <c:pt idx="55">
                  <c:v>52.621011646786968</c:v>
                </c:pt>
                <c:pt idx="56">
                  <c:v>54.736803675154533</c:v>
                </c:pt>
                <c:pt idx="57">
                  <c:v>56.901522477626159</c:v>
                </c:pt>
                <c:pt idx="58">
                  <c:v>59.105702932174374</c:v>
                </c:pt>
                <c:pt idx="59">
                  <c:v>61.340040626820041</c:v>
                </c:pt>
                <c:pt idx="60">
                  <c:v>63.595546404415266</c:v>
                </c:pt>
                <c:pt idx="61">
                  <c:v>65.863358415095902</c:v>
                </c:pt>
                <c:pt idx="62">
                  <c:v>68.134615192739517</c:v>
                </c:pt>
                <c:pt idx="63">
                  <c:v>70.400284123202823</c:v>
                </c:pt>
                <c:pt idx="64">
                  <c:v>72.651163136599294</c:v>
                </c:pt>
                <c:pt idx="65">
                  <c:v>74.877938017700643</c:v>
                </c:pt>
                <c:pt idx="66">
                  <c:v>77.071148423688314</c:v>
                </c:pt>
                <c:pt idx="67">
                  <c:v>79.221271534801076</c:v>
                </c:pt>
                <c:pt idx="68">
                  <c:v>81.318854596657403</c:v>
                </c:pt>
                <c:pt idx="69">
                  <c:v>83.354518044191053</c:v>
                </c:pt>
                <c:pt idx="70">
                  <c:v>85.319401977592307</c:v>
                </c:pt>
                <c:pt idx="71">
                  <c:v>87.205006046595983</c:v>
                </c:pt>
                <c:pt idx="72">
                  <c:v>89.003180474399542</c:v>
                </c:pt>
                <c:pt idx="73">
                  <c:v>90.706098593871246</c:v>
                </c:pt>
                <c:pt idx="74">
                  <c:v>92.306428880220849</c:v>
                </c:pt>
                <c:pt idx="75">
                  <c:v>93.797351100766264</c:v>
                </c:pt>
                <c:pt idx="76">
                  <c:v>95.172546094832143</c:v>
                </c:pt>
                <c:pt idx="77">
                  <c:v>96.426259619949775</c:v>
                </c:pt>
                <c:pt idx="78">
                  <c:v>97.553330739766537</c:v>
                </c:pt>
                <c:pt idx="79">
                  <c:v>98.549219331440113</c:v>
                </c:pt>
                <c:pt idx="80">
                  <c:v>99.410038674164468</c:v>
                </c:pt>
                <c:pt idx="81">
                  <c:v>100.13257952538966</c:v>
                </c:pt>
                <c:pt idx="82">
                  <c:v>100.71430371373555</c:v>
                </c:pt>
                <c:pt idx="83">
                  <c:v>101.15339689029028</c:v>
                </c:pt>
                <c:pt idx="84">
                  <c:v>101.44877197511822</c:v>
                </c:pt>
                <c:pt idx="85">
                  <c:v>101.60004759748826</c:v>
                </c:pt>
                <c:pt idx="86">
                  <c:v>101.60753706611453</c:v>
                </c:pt>
                <c:pt idx="87">
                  <c:v>101.47224658414451</c:v>
                </c:pt>
                <c:pt idx="88">
                  <c:v>101.19586609669288</c:v>
                </c:pt>
                <c:pt idx="89">
                  <c:v>100.78075296203009</c:v>
                </c:pt>
                <c:pt idx="90">
                  <c:v>100.22990797669917</c:v>
                </c:pt>
                <c:pt idx="91">
                  <c:v>99.546944442965355</c:v>
                </c:pt>
                <c:pt idx="92">
                  <c:v>98.736046804660361</c:v>
                </c:pt>
                <c:pt idx="93">
                  <c:v>97.8019281250798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16</c:v>
                </c:pt>
                <c:pt idx="1">
                  <c:v>39</c:v>
                </c:pt>
                <c:pt idx="2">
                  <c:v>51</c:v>
                </c:pt>
                <c:pt idx="3">
                  <c:v>62</c:v>
                </c:pt>
                <c:pt idx="4">
                  <c:v>77</c:v>
                </c:pt>
                <c:pt idx="5">
                  <c:v>90</c:v>
                </c:pt>
                <c:pt idx="6">
                  <c:v>112</c:v>
                </c:pt>
                <c:pt idx="7">
                  <c:v>127</c:v>
                </c:pt>
                <c:pt idx="8">
                  <c:v>139</c:v>
                </c:pt>
                <c:pt idx="9">
                  <c:v>149</c:v>
                </c:pt>
                <c:pt idx="10">
                  <c:v>159</c:v>
                </c:pt>
                <c:pt idx="11">
                  <c:v>170</c:v>
                </c:pt>
                <c:pt idx="12">
                  <c:v>176</c:v>
                </c:pt>
                <c:pt idx="13">
                  <c:v>189</c:v>
                </c:pt>
                <c:pt idx="14">
                  <c:v>194</c:v>
                </c:pt>
                <c:pt idx="15">
                  <c:v>203</c:v>
                </c:pt>
                <c:pt idx="16">
                  <c:v>215</c:v>
                </c:pt>
                <c:pt idx="17">
                  <c:v>221</c:v>
                </c:pt>
                <c:pt idx="18">
                  <c:v>230</c:v>
                </c:pt>
                <c:pt idx="19">
                  <c:v>246</c:v>
                </c:pt>
                <c:pt idx="20">
                  <c:v>258</c:v>
                </c:pt>
                <c:pt idx="21">
                  <c:v>266</c:v>
                </c:pt>
                <c:pt idx="22">
                  <c:v>274</c:v>
                </c:pt>
                <c:pt idx="23">
                  <c:v>280</c:v>
                </c:pt>
                <c:pt idx="24">
                  <c:v>283</c:v>
                </c:pt>
                <c:pt idx="25">
                  <c:v>292</c:v>
                </c:pt>
                <c:pt idx="26">
                  <c:v>300</c:v>
                </c:pt>
                <c:pt idx="27">
                  <c:v>305</c:v>
                </c:pt>
                <c:pt idx="28">
                  <c:v>311</c:v>
                </c:pt>
                <c:pt idx="29">
                  <c:v>319</c:v>
                </c:pt>
                <c:pt idx="30">
                  <c:v>327</c:v>
                </c:pt>
                <c:pt idx="31">
                  <c:v>330</c:v>
                </c:pt>
                <c:pt idx="32">
                  <c:v>337</c:v>
                </c:pt>
                <c:pt idx="33">
                  <c:v>343</c:v>
                </c:pt>
                <c:pt idx="34">
                  <c:v>347</c:v>
                </c:pt>
                <c:pt idx="35">
                  <c:v>357</c:v>
                </c:pt>
                <c:pt idx="36">
                  <c:v>361</c:v>
                </c:pt>
                <c:pt idx="37">
                  <c:v>362</c:v>
                </c:pt>
                <c:pt idx="38">
                  <c:v>366</c:v>
                </c:pt>
                <c:pt idx="39">
                  <c:v>367</c:v>
                </c:pt>
                <c:pt idx="40">
                  <c:v>372</c:v>
                </c:pt>
                <c:pt idx="41">
                  <c:v>378</c:v>
                </c:pt>
                <c:pt idx="42">
                  <c:v>378</c:v>
                </c:pt>
                <c:pt idx="43">
                  <c:v>383</c:v>
                </c:pt>
                <c:pt idx="44">
                  <c:v>384</c:v>
                </c:pt>
                <c:pt idx="45">
                  <c:v>386</c:v>
                </c:pt>
                <c:pt idx="46">
                  <c:v>387</c:v>
                </c:pt>
                <c:pt idx="47">
                  <c:v>393</c:v>
                </c:pt>
                <c:pt idx="48">
                  <c:v>395</c:v>
                </c:pt>
                <c:pt idx="49">
                  <c:v>399</c:v>
                </c:pt>
                <c:pt idx="50">
                  <c:v>403</c:v>
                </c:pt>
                <c:pt idx="51">
                  <c:v>405</c:v>
                </c:pt>
                <c:pt idx="52">
                  <c:v>407</c:v>
                </c:pt>
                <c:pt idx="53">
                  <c:v>410</c:v>
                </c:pt>
                <c:pt idx="54">
                  <c:v>413</c:v>
                </c:pt>
                <c:pt idx="55">
                  <c:v>414</c:v>
                </c:pt>
                <c:pt idx="56">
                  <c:v>415</c:v>
                </c:pt>
                <c:pt idx="57">
                  <c:v>421</c:v>
                </c:pt>
                <c:pt idx="58">
                  <c:v>428</c:v>
                </c:pt>
                <c:pt idx="59">
                  <c:v>434</c:v>
                </c:pt>
                <c:pt idx="60">
                  <c:v>439</c:v>
                </c:pt>
                <c:pt idx="61">
                  <c:v>447</c:v>
                </c:pt>
                <c:pt idx="62">
                  <c:v>449</c:v>
                </c:pt>
                <c:pt idx="63">
                  <c:v>453</c:v>
                </c:pt>
                <c:pt idx="64">
                  <c:v>458</c:v>
                </c:pt>
                <c:pt idx="65">
                  <c:v>465</c:v>
                </c:pt>
                <c:pt idx="66">
                  <c:v>471</c:v>
                </c:pt>
                <c:pt idx="67">
                  <c:v>474</c:v>
                </c:pt>
                <c:pt idx="68">
                  <c:v>481</c:v>
                </c:pt>
                <c:pt idx="69">
                  <c:v>487</c:v>
                </c:pt>
                <c:pt idx="70">
                  <c:v>496</c:v>
                </c:pt>
                <c:pt idx="71">
                  <c:v>500</c:v>
                </c:pt>
                <c:pt idx="72">
                  <c:v>507</c:v>
                </c:pt>
                <c:pt idx="73">
                  <c:v>517</c:v>
                </c:pt>
                <c:pt idx="74">
                  <c:v>523</c:v>
                </c:pt>
                <c:pt idx="75">
                  <c:v>528</c:v>
                </c:pt>
                <c:pt idx="76">
                  <c:v>532</c:v>
                </c:pt>
                <c:pt idx="77">
                  <c:v>542</c:v>
                </c:pt>
                <c:pt idx="78">
                  <c:v>552</c:v>
                </c:pt>
                <c:pt idx="79">
                  <c:v>555</c:v>
                </c:pt>
                <c:pt idx="80">
                  <c:v>562</c:v>
                </c:pt>
                <c:pt idx="81">
                  <c:v>569</c:v>
                </c:pt>
                <c:pt idx="82">
                  <c:v>578</c:v>
                </c:pt>
                <c:pt idx="83">
                  <c:v>585</c:v>
                </c:pt>
                <c:pt idx="84">
                  <c:v>595</c:v>
                </c:pt>
                <c:pt idx="85">
                  <c:v>602</c:v>
                </c:pt>
                <c:pt idx="86">
                  <c:v>605</c:v>
                </c:pt>
                <c:pt idx="87">
                  <c:v>610</c:v>
                </c:pt>
                <c:pt idx="88">
                  <c:v>614</c:v>
                </c:pt>
                <c:pt idx="89">
                  <c:v>617</c:v>
                </c:pt>
                <c:pt idx="90">
                  <c:v>620</c:v>
                </c:pt>
                <c:pt idx="91">
                  <c:v>626</c:v>
                </c:pt>
                <c:pt idx="92">
                  <c:v>632</c:v>
                </c:pt>
                <c:pt idx="93">
                  <c:v>6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32.72108751016879</c:v>
                </c:pt>
                <c:pt idx="32">
                  <c:v>339.17714371643103</c:v>
                </c:pt>
                <c:pt idx="33">
                  <c:v>345.37553477945892</c:v>
                </c:pt>
                <c:pt idx="34">
                  <c:v>351.32365134379478</c:v>
                </c:pt>
                <c:pt idx="35">
                  <c:v>357.02888391563948</c:v>
                </c:pt>
                <c:pt idx="36">
                  <c:v>362.50477024826938</c:v>
                </c:pt>
                <c:pt idx="37">
                  <c:v>367.75814457912264</c:v>
                </c:pt>
                <c:pt idx="38">
                  <c:v>372.79581300737811</c:v>
                </c:pt>
                <c:pt idx="39">
                  <c:v>377.62453745775042</c:v>
                </c:pt>
                <c:pt idx="40">
                  <c:v>382.25102132003957</c:v>
                </c:pt>
                <c:pt idx="41">
                  <c:v>386.73277244955716</c:v>
                </c:pt>
                <c:pt idx="42">
                  <c:v>391.11265022776223</c:v>
                </c:pt>
                <c:pt idx="43">
                  <c:v>395.41689037782385</c:v>
                </c:pt>
                <c:pt idx="44">
                  <c:v>399.66231850227524</c:v>
                </c:pt>
                <c:pt idx="45">
                  <c:v>403.86058630061831</c:v>
                </c:pt>
                <c:pt idx="46">
                  <c:v>408.02057138161456</c:v>
                </c:pt>
                <c:pt idx="47">
                  <c:v>412.14941697397819</c:v>
                </c:pt>
                <c:pt idx="48">
                  <c:v>416.2528975794587</c:v>
                </c:pt>
                <c:pt idx="49">
                  <c:v>420.33548037707845</c:v>
                </c:pt>
                <c:pt idx="50">
                  <c:v>424.39993769974473</c:v>
                </c:pt>
                <c:pt idx="51">
                  <c:v>428.44801278347398</c:v>
                </c:pt>
                <c:pt idx="52">
                  <c:v>432.48060104307882</c:v>
                </c:pt>
                <c:pt idx="53">
                  <c:v>436.49786074053185</c:v>
                </c:pt>
                <c:pt idx="54">
                  <c:v>440.49949302875274</c:v>
                </c:pt>
                <c:pt idx="55">
                  <c:v>444.48483618660498</c:v>
                </c:pt>
                <c:pt idx="56">
                  <c:v>448.45294500152511</c:v>
                </c:pt>
                <c:pt idx="57">
                  <c:v>452.40279754272342</c:v>
                </c:pt>
                <c:pt idx="58">
                  <c:v>456.33310676361594</c:v>
                </c:pt>
                <c:pt idx="59">
                  <c:v>460.24247337165326</c:v>
                </c:pt>
                <c:pt idx="60">
                  <c:v>464.12942575715715</c:v>
                </c:pt>
                <c:pt idx="61">
                  <c:v>467.99247690943571</c:v>
                </c:pt>
                <c:pt idx="62">
                  <c:v>471.83015635714645</c:v>
                </c:pt>
                <c:pt idx="63">
                  <c:v>475.64102502653225</c:v>
                </c:pt>
                <c:pt idx="64">
                  <c:v>479.42370498116264</c:v>
                </c:pt>
                <c:pt idx="65">
                  <c:v>483.17681541412992</c:v>
                </c:pt>
                <c:pt idx="66">
                  <c:v>486.89899746026458</c:v>
                </c:pt>
                <c:pt idx="67">
                  <c:v>490.58899881602093</c:v>
                </c:pt>
                <c:pt idx="68">
                  <c:v>494.24561115394545</c:v>
                </c:pt>
                <c:pt idx="69">
                  <c:v>497.86762930419303</c:v>
                </c:pt>
                <c:pt idx="70">
                  <c:v>501.45407649799625</c:v>
                </c:pt>
                <c:pt idx="71">
                  <c:v>505.00414520521616</c:v>
                </c:pt>
                <c:pt idx="72">
                  <c:v>508.51709708186866</c:v>
                </c:pt>
                <c:pt idx="73">
                  <c:v>511.9922647257988</c:v>
                </c:pt>
                <c:pt idx="74">
                  <c:v>515.42905198498488</c:v>
                </c:pt>
                <c:pt idx="75">
                  <c:v>518.82693353642958</c:v>
                </c:pt>
                <c:pt idx="76">
                  <c:v>522.18545352603053</c:v>
                </c:pt>
                <c:pt idx="77">
                  <c:v>525.5042225343883</c:v>
                </c:pt>
                <c:pt idx="78">
                  <c:v>528.78291314405556</c:v>
                </c:pt>
                <c:pt idx="79">
                  <c:v>532.0212532297503</c:v>
                </c:pt>
                <c:pt idx="80">
                  <c:v>535.21902097008842</c:v>
                </c:pt>
                <c:pt idx="81">
                  <c:v>538.37604028489727</c:v>
                </c:pt>
                <c:pt idx="82">
                  <c:v>541.49217660435806</c:v>
                </c:pt>
                <c:pt idx="83">
                  <c:v>544.56733345202588</c:v>
                </c:pt>
                <c:pt idx="84">
                  <c:v>547.60144928531997</c:v>
                </c:pt>
                <c:pt idx="85">
                  <c:v>550.59449477837313</c:v>
                </c:pt>
                <c:pt idx="86">
                  <c:v>553.54647080784889</c:v>
                </c:pt>
                <c:pt idx="87">
                  <c:v>556.45740592504148</c:v>
                </c:pt>
                <c:pt idx="88">
                  <c:v>559.3273544299368</c:v>
                </c:pt>
                <c:pt idx="89">
                  <c:v>562.15639464964022</c:v>
                </c:pt>
                <c:pt idx="90">
                  <c:v>564.9446274743616</c:v>
                </c:pt>
                <c:pt idx="91">
                  <c:v>567.69217503779237</c:v>
                </c:pt>
                <c:pt idx="92">
                  <c:v>570.39917953039776</c:v>
                </c:pt>
                <c:pt idx="93">
                  <c:v>573.065802242598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32.72108751016879</c:v>
                </c:pt>
                <c:pt idx="32">
                  <c:v>339.17714371643103</c:v>
                </c:pt>
                <c:pt idx="33">
                  <c:v>345.37553477945892</c:v>
                </c:pt>
                <c:pt idx="34">
                  <c:v>351.41039785615112</c:v>
                </c:pt>
                <c:pt idx="35">
                  <c:v>357.45522597122039</c:v>
                </c:pt>
                <c:pt idx="36">
                  <c:v>363.57007667916429</c:v>
                </c:pt>
                <c:pt idx="37">
                  <c:v>369.78151291463672</c:v>
                </c:pt>
                <c:pt idx="38">
                  <c:v>376.10975231505415</c:v>
                </c:pt>
                <c:pt idx="39">
                  <c:v>382.57213271111891</c:v>
                </c:pt>
                <c:pt idx="40">
                  <c:v>389.18436101782498</c:v>
                </c:pt>
                <c:pt idx="41">
                  <c:v>395.96082021651432</c:v>
                </c:pt>
                <c:pt idx="42">
                  <c:v>402.91445334484951</c:v>
                </c:pt>
                <c:pt idx="43">
                  <c:v>410.05595274737215</c:v>
                </c:pt>
                <c:pt idx="44">
                  <c:v>417.39471149962526</c:v>
                </c:pt>
                <c:pt idx="45">
                  <c:v>424.93894943062128</c:v>
                </c:pt>
                <c:pt idx="46">
                  <c:v>432.69574276062593</c:v>
                </c:pt>
                <c:pt idx="47">
                  <c:v>440.67136265566944</c:v>
                </c:pt>
                <c:pt idx="48">
                  <c:v>448.87131223099209</c:v>
                </c:pt>
                <c:pt idx="49">
                  <c:v>457.30033802375146</c:v>
                </c:pt>
                <c:pt idx="50">
                  <c:v>465.96267857434816</c:v>
                </c:pt>
                <c:pt idx="51">
                  <c:v>474.86165426720555</c:v>
                </c:pt>
                <c:pt idx="52">
                  <c:v>483.99983909831792</c:v>
                </c:pt>
                <c:pt idx="53">
                  <c:v>493.37904304634645</c:v>
                </c:pt>
                <c:pt idx="54">
                  <c:v>503.00032949869251</c:v>
                </c:pt>
                <c:pt idx="55">
                  <c:v>512.86399946265112</c:v>
                </c:pt>
                <c:pt idx="56">
                  <c:v>522.96954987762922</c:v>
                </c:pt>
                <c:pt idx="57">
                  <c:v>533.31565963111962</c:v>
                </c:pt>
                <c:pt idx="58">
                  <c:v>543.90003580908353</c:v>
                </c:pt>
                <c:pt idx="59">
                  <c:v>554.71941086055972</c:v>
                </c:pt>
                <c:pt idx="60">
                  <c:v>565.76964514050894</c:v>
                </c:pt>
                <c:pt idx="61">
                  <c:v>577.04559198935078</c:v>
                </c:pt>
                <c:pt idx="62">
                  <c:v>588.5410060170193</c:v>
                </c:pt>
                <c:pt idx="63">
                  <c:v>600.24866557072494</c:v>
                </c:pt>
                <c:pt idx="64">
                  <c:v>612.16032606101351</c:v>
                </c:pt>
                <c:pt idx="65">
                  <c:v>624.26663836168575</c:v>
                </c:pt>
                <c:pt idx="66">
                  <c:v>636.55720923313595</c:v>
                </c:pt>
                <c:pt idx="67">
                  <c:v>649.02064917380994</c:v>
                </c:pt>
                <c:pt idx="68">
                  <c:v>661.6446207442184</c:v>
                </c:pt>
                <c:pt idx="69">
                  <c:v>674.4158929384696</c:v>
                </c:pt>
                <c:pt idx="70">
                  <c:v>687.32089942001505</c:v>
                </c:pt>
                <c:pt idx="71">
                  <c:v>700.34569243364103</c:v>
                </c:pt>
                <c:pt idx="72">
                  <c:v>713.47588914804192</c:v>
                </c:pt>
                <c:pt idx="73">
                  <c:v>726.69668808566564</c:v>
                </c:pt>
                <c:pt idx="74">
                  <c:v>739.99292365200495</c:v>
                </c:pt>
                <c:pt idx="75">
                  <c:v>753.34914045849371</c:v>
                </c:pt>
                <c:pt idx="76">
                  <c:v>766.74967583916771</c:v>
                </c:pt>
                <c:pt idx="77">
                  <c:v>780.17874351667479</c:v>
                </c:pt>
                <c:pt idx="78">
                  <c:v>793.62051592467162</c:v>
                </c:pt>
                <c:pt idx="79">
                  <c:v>807.05920031803294</c:v>
                </c:pt>
                <c:pt idx="80">
                  <c:v>820.47911950359685</c:v>
                </c:pt>
                <c:pt idx="81">
                  <c:v>833.86479185204996</c:v>
                </c:pt>
                <c:pt idx="82">
                  <c:v>847.20100928921829</c:v>
                </c:pt>
                <c:pt idx="83">
                  <c:v>860.4729140818788</c:v>
                </c:pt>
                <c:pt idx="84">
                  <c:v>873.66607186271915</c:v>
                </c:pt>
                <c:pt idx="85">
                  <c:v>886.76654051893115</c:v>
                </c:pt>
                <c:pt idx="86">
                  <c:v>899.76093537052748</c:v>
                </c:pt>
                <c:pt idx="87">
                  <c:v>912.63648616258342</c:v>
                </c:pt>
                <c:pt idx="88">
                  <c:v>925.38108894602112</c:v>
                </c:pt>
                <c:pt idx="89">
                  <c:v>937.98335129902023</c:v>
                </c:pt>
                <c:pt idx="90">
                  <c:v>950.43263085020442</c:v>
                </c:pt>
                <c:pt idx="91">
                  <c:v>962.71906668913118</c:v>
                </c:pt>
                <c:pt idx="92">
                  <c:v>974.83360358275286</c:v>
                </c:pt>
                <c:pt idx="93">
                  <c:v>986.768009355723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32.72108751016879</c:v>
                </c:pt>
                <c:pt idx="32">
                  <c:v>339.17714371643103</c:v>
                </c:pt>
                <c:pt idx="33">
                  <c:v>345.37553477945892</c:v>
                </c:pt>
                <c:pt idx="34">
                  <c:v>351.49714436850752</c:v>
                </c:pt>
                <c:pt idx="35">
                  <c:v>357.6727457858878</c:v>
                </c:pt>
                <c:pt idx="36">
                  <c:v>363.98839238901672</c:v>
                </c:pt>
                <c:pt idx="37">
                  <c:v>370.49721004720521</c:v>
                </c:pt>
                <c:pt idx="38">
                  <c:v>377.23963403528114</c:v>
                </c:pt>
                <c:pt idx="39">
                  <c:v>384.25034001465303</c:v>
                </c:pt>
                <c:pt idx="40">
                  <c:v>391.56074181530761</c:v>
                </c:pt>
                <c:pt idx="41">
                  <c:v>399.19960539992871</c:v>
                </c:pt>
                <c:pt idx="42">
                  <c:v>407.19281684384151</c:v>
                </c:pt>
                <c:pt idx="43">
                  <c:v>415.56176083612922</c:v>
                </c:pt>
                <c:pt idx="44">
                  <c:v>424.32522352787851</c:v>
                </c:pt>
                <c:pt idx="45">
                  <c:v>433.4996445771136</c:v>
                </c:pt>
                <c:pt idx="46">
                  <c:v>443.09917642436398</c:v>
                </c:pt>
                <c:pt idx="47">
                  <c:v>453.13636140169336</c:v>
                </c:pt>
                <c:pt idx="48">
                  <c:v>463.62220573958109</c:v>
                </c:pt>
                <c:pt idx="49">
                  <c:v>474.56620251234352</c:v>
                </c:pt>
                <c:pt idx="50">
                  <c:v>485.97682880077934</c:v>
                </c:pt>
                <c:pt idx="51">
                  <c:v>497.86072537373587</c:v>
                </c:pt>
                <c:pt idx="52">
                  <c:v>510.22304022320236</c:v>
                </c:pt>
                <c:pt idx="53">
                  <c:v>523.06739330650237</c:v>
                </c:pt>
                <c:pt idx="54">
                  <c:v>536.39591139843628</c:v>
                </c:pt>
                <c:pt idx="55">
                  <c:v>550.20919651359657</c:v>
                </c:pt>
                <c:pt idx="56">
                  <c:v>564.50624253079513</c:v>
                </c:pt>
                <c:pt idx="57">
                  <c:v>579.28440722501762</c:v>
                </c:pt>
                <c:pt idx="58">
                  <c:v>594.53910476818851</c:v>
                </c:pt>
                <c:pt idx="59">
                  <c:v>610.26380005838337</c:v>
                </c:pt>
                <c:pt idx="60">
                  <c:v>626.45021380552419</c:v>
                </c:pt>
                <c:pt idx="61">
                  <c:v>643.08805269045024</c:v>
                </c:pt>
                <c:pt idx="62">
                  <c:v>660.16482593302965</c:v>
                </c:pt>
                <c:pt idx="63">
                  <c:v>677.66609022768273</c:v>
                </c:pt>
                <c:pt idx="64">
                  <c:v>695.57535639550304</c:v>
                </c:pt>
                <c:pt idx="65">
                  <c:v>713.87392618408921</c:v>
                </c:pt>
                <c:pt idx="66">
                  <c:v>732.54101311423256</c:v>
                </c:pt>
                <c:pt idx="67">
                  <c:v>751.55383818282291</c:v>
                </c:pt>
                <c:pt idx="68">
                  <c:v>770.88772651088152</c:v>
                </c:pt>
                <c:pt idx="69">
                  <c:v>790.51621608662708</c:v>
                </c:pt>
                <c:pt idx="70">
                  <c:v>810.41217423696025</c:v>
                </c:pt>
                <c:pt idx="71">
                  <c:v>830.54770545145391</c:v>
                </c:pt>
                <c:pt idx="72">
                  <c:v>850.89404406749793</c:v>
                </c:pt>
                <c:pt idx="73">
                  <c:v>871.42158712998719</c:v>
                </c:pt>
                <c:pt idx="74">
                  <c:v>892.10000344990817</c:v>
                </c:pt>
                <c:pt idx="75">
                  <c:v>912.89838225012863</c:v>
                </c:pt>
                <c:pt idx="76">
                  <c:v>933.78539819871912</c:v>
                </c:pt>
                <c:pt idx="77">
                  <c:v>954.72947874097633</c:v>
                </c:pt>
                <c:pt idx="78">
                  <c:v>975.69896874421238</c:v>
                </c:pt>
                <c:pt idx="79">
                  <c:v>996.66228271817681</c:v>
                </c:pt>
                <c:pt idx="80">
                  <c:v>1017.588066276547</c:v>
                </c:pt>
                <c:pt idx="81">
                  <c:v>1038.4453561606956</c:v>
                </c:pt>
                <c:pt idx="82">
                  <c:v>1059.2037362222748</c:v>
                </c:pt>
                <c:pt idx="83">
                  <c:v>1079.8334909948383</c:v>
                </c:pt>
                <c:pt idx="84">
                  <c:v>1100.3057517437626</c:v>
                </c:pt>
                <c:pt idx="85">
                  <c:v>1120.5926342434277</c:v>
                </c:pt>
                <c:pt idx="86">
                  <c:v>1140.667369133864</c:v>
                </c:pt>
                <c:pt idx="87">
                  <c:v>1160.5044159052177</c:v>
                </c:pt>
                <c:pt idx="88">
                  <c:v>1180.0795666593349</c:v>
                </c:pt>
                <c:pt idx="89">
                  <c:v>1199.3700365525754</c:v>
                </c:pt>
                <c:pt idx="90">
                  <c:v>1218.3545408421862</c:v>
                </c:pt>
                <c:pt idx="91">
                  <c:v>1237.0133577072822</c:v>
                </c:pt>
                <c:pt idx="92">
                  <c:v>1255.3283766817681</c:v>
                </c:pt>
                <c:pt idx="93">
                  <c:v>1273.28313341495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63</c:v>
                </c:pt>
                <c:pt idx="1">
                  <c:v>59</c:v>
                </c:pt>
                <c:pt idx="2">
                  <c:v>59</c:v>
                </c:pt>
                <c:pt idx="3">
                  <c:v>56</c:v>
                </c:pt>
                <c:pt idx="4">
                  <c:v>63</c:v>
                </c:pt>
                <c:pt idx="5">
                  <c:v>66</c:v>
                </c:pt>
                <c:pt idx="6">
                  <c:v>68</c:v>
                </c:pt>
                <c:pt idx="7">
                  <c:v>70</c:v>
                </c:pt>
                <c:pt idx="8">
                  <c:v>70</c:v>
                </c:pt>
                <c:pt idx="9">
                  <c:v>67</c:v>
                </c:pt>
                <c:pt idx="10">
                  <c:v>60</c:v>
                </c:pt>
                <c:pt idx="11">
                  <c:v>62</c:v>
                </c:pt>
                <c:pt idx="12">
                  <c:v>59</c:v>
                </c:pt>
                <c:pt idx="13">
                  <c:v>59</c:v>
                </c:pt>
                <c:pt idx="14">
                  <c:v>62</c:v>
                </c:pt>
                <c:pt idx="15">
                  <c:v>55</c:v>
                </c:pt>
                <c:pt idx="16">
                  <c:v>56</c:v>
                </c:pt>
                <c:pt idx="17">
                  <c:v>52</c:v>
                </c:pt>
                <c:pt idx="18">
                  <c:v>48</c:v>
                </c:pt>
                <c:pt idx="19">
                  <c:v>48</c:v>
                </c:pt>
                <c:pt idx="20">
                  <c:v>48</c:v>
                </c:pt>
                <c:pt idx="21">
                  <c:v>47</c:v>
                </c:pt>
                <c:pt idx="22">
                  <c:v>45</c:v>
                </c:pt>
                <c:pt idx="23">
                  <c:v>42</c:v>
                </c:pt>
                <c:pt idx="24">
                  <c:v>41</c:v>
                </c:pt>
                <c:pt idx="25">
                  <c:v>38</c:v>
                </c:pt>
                <c:pt idx="26">
                  <c:v>37</c:v>
                </c:pt>
                <c:pt idx="27">
                  <c:v>43</c:v>
                </c:pt>
                <c:pt idx="28">
                  <c:v>40</c:v>
                </c:pt>
                <c:pt idx="29">
                  <c:v>39</c:v>
                </c:pt>
                <c:pt idx="30">
                  <c:v>38</c:v>
                </c:pt>
                <c:pt idx="31">
                  <c:v>30</c:v>
                </c:pt>
                <c:pt idx="32">
                  <c:v>29</c:v>
                </c:pt>
                <c:pt idx="33">
                  <c:v>26</c:v>
                </c:pt>
                <c:pt idx="34">
                  <c:v>28</c:v>
                </c:pt>
                <c:pt idx="35">
                  <c:v>28</c:v>
                </c:pt>
                <c:pt idx="36">
                  <c:v>25</c:v>
                </c:pt>
                <c:pt idx="37">
                  <c:v>24</c:v>
                </c:pt>
                <c:pt idx="38">
                  <c:v>22</c:v>
                </c:pt>
                <c:pt idx="39">
                  <c:v>20</c:v>
                </c:pt>
                <c:pt idx="40">
                  <c:v>19</c:v>
                </c:pt>
                <c:pt idx="41">
                  <c:v>19</c:v>
                </c:pt>
                <c:pt idx="42">
                  <c:v>18</c:v>
                </c:pt>
                <c:pt idx="43">
                  <c:v>19</c:v>
                </c:pt>
                <c:pt idx="44">
                  <c:v>19</c:v>
                </c:pt>
                <c:pt idx="45">
                  <c:v>20</c:v>
                </c:pt>
                <c:pt idx="46">
                  <c:v>20</c:v>
                </c:pt>
                <c:pt idx="47">
                  <c:v>15</c:v>
                </c:pt>
                <c:pt idx="48">
                  <c:v>14</c:v>
                </c:pt>
                <c:pt idx="49">
                  <c:v>15</c:v>
                </c:pt>
                <c:pt idx="50">
                  <c:v>14</c:v>
                </c:pt>
                <c:pt idx="51">
                  <c:v>15</c:v>
                </c:pt>
                <c:pt idx="52">
                  <c:v>19</c:v>
                </c:pt>
                <c:pt idx="53">
                  <c:v>19</c:v>
                </c:pt>
                <c:pt idx="54">
                  <c:v>20</c:v>
                </c:pt>
                <c:pt idx="55">
                  <c:v>19</c:v>
                </c:pt>
                <c:pt idx="56">
                  <c:v>18</c:v>
                </c:pt>
                <c:pt idx="57">
                  <c:v>18</c:v>
                </c:pt>
                <c:pt idx="58">
                  <c:v>17</c:v>
                </c:pt>
                <c:pt idx="59">
                  <c:v>16</c:v>
                </c:pt>
                <c:pt idx="60">
                  <c:v>16</c:v>
                </c:pt>
                <c:pt idx="61">
                  <c:v>15</c:v>
                </c:pt>
                <c:pt idx="62">
                  <c:v>16</c:v>
                </c:pt>
                <c:pt idx="63">
                  <c:v>15</c:v>
                </c:pt>
                <c:pt idx="64">
                  <c:v>13</c:v>
                </c:pt>
                <c:pt idx="65">
                  <c:v>14</c:v>
                </c:pt>
                <c:pt idx="66">
                  <c:v>13</c:v>
                </c:pt>
                <c:pt idx="67">
                  <c:v>14</c:v>
                </c:pt>
                <c:pt idx="68">
                  <c:v>15</c:v>
                </c:pt>
                <c:pt idx="69">
                  <c:v>19</c:v>
                </c:pt>
                <c:pt idx="70">
                  <c:v>17</c:v>
                </c:pt>
                <c:pt idx="71">
                  <c:v>14</c:v>
                </c:pt>
                <c:pt idx="72">
                  <c:v>16</c:v>
                </c:pt>
                <c:pt idx="73">
                  <c:v>16</c:v>
                </c:pt>
                <c:pt idx="74">
                  <c:v>12</c:v>
                </c:pt>
                <c:pt idx="75">
                  <c:v>20</c:v>
                </c:pt>
                <c:pt idx="76">
                  <c:v>22</c:v>
                </c:pt>
                <c:pt idx="77">
                  <c:v>22</c:v>
                </c:pt>
                <c:pt idx="78">
                  <c:v>25</c:v>
                </c:pt>
                <c:pt idx="79">
                  <c:v>29</c:v>
                </c:pt>
                <c:pt idx="80">
                  <c:v>25</c:v>
                </c:pt>
                <c:pt idx="81">
                  <c:v>24</c:v>
                </c:pt>
                <c:pt idx="82">
                  <c:v>27</c:v>
                </c:pt>
                <c:pt idx="83">
                  <c:v>25</c:v>
                </c:pt>
                <c:pt idx="84">
                  <c:v>19</c:v>
                </c:pt>
                <c:pt idx="85">
                  <c:v>20</c:v>
                </c:pt>
                <c:pt idx="86">
                  <c:v>21</c:v>
                </c:pt>
                <c:pt idx="87">
                  <c:v>17</c:v>
                </c:pt>
                <c:pt idx="88">
                  <c:v>19</c:v>
                </c:pt>
                <c:pt idx="89">
                  <c:v>22</c:v>
                </c:pt>
                <c:pt idx="90">
                  <c:v>19</c:v>
                </c:pt>
                <c:pt idx="91">
                  <c:v>20</c:v>
                </c:pt>
                <c:pt idx="92">
                  <c:v>19</c:v>
                </c:pt>
                <c:pt idx="93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9.779553773612339</c:v>
                </c:pt>
                <c:pt idx="32">
                  <c:v>28.737576252572254</c:v>
                </c:pt>
                <c:pt idx="33">
                  <c:v>27.714913705896929</c:v>
                </c:pt>
                <c:pt idx="34">
                  <c:v>26.712429749117376</c:v>
                </c:pt>
                <c:pt idx="35">
                  <c:v>25.730859949657724</c:v>
                </c:pt>
                <c:pt idx="36">
                  <c:v>24.79875723780442</c:v>
                </c:pt>
                <c:pt idx="37">
                  <c:v>23.88666827381752</c:v>
                </c:pt>
                <c:pt idx="38">
                  <c:v>22.995098600633263</c:v>
                </c:pt>
                <c:pt idx="39">
                  <c:v>22.124468040367013</c:v>
                </c:pt>
                <c:pt idx="40">
                  <c:v>21.275140180535232</c:v>
                </c:pt>
                <c:pt idx="41">
                  <c:v>20.463817677298991</c:v>
                </c:pt>
                <c:pt idx="42">
                  <c:v>19.701801959059878</c:v>
                </c:pt>
                <c:pt idx="43">
                  <c:v>18.994443532937687</c:v>
                </c:pt>
                <c:pt idx="44">
                  <c:v>18.343461263317831</c:v>
                </c:pt>
                <c:pt idx="45">
                  <c:v>17.748562742612869</c:v>
                </c:pt>
                <c:pt idx="46">
                  <c:v>17.208354406080865</c:v>
                </c:pt>
                <c:pt idx="47">
                  <c:v>16.720820555077914</c:v>
                </c:pt>
                <c:pt idx="48">
                  <c:v>16.283411450743309</c:v>
                </c:pt>
                <c:pt idx="49">
                  <c:v>15.893158945126443</c:v>
                </c:pt>
                <c:pt idx="50">
                  <c:v>15.546694561135368</c:v>
                </c:pt>
                <c:pt idx="51">
                  <c:v>15.240567699852869</c:v>
                </c:pt>
                <c:pt idx="52">
                  <c:v>14.971204354509998</c:v>
                </c:pt>
                <c:pt idx="53">
                  <c:v>14.735085846648433</c:v>
                </c:pt>
                <c:pt idx="54">
                  <c:v>14.528861363492128</c:v>
                </c:pt>
                <c:pt idx="55">
                  <c:v>14.348992933335429</c:v>
                </c:pt>
                <c:pt idx="56">
                  <c:v>14.191307709391994</c:v>
                </c:pt>
                <c:pt idx="57">
                  <c:v>14.051660467737312</c:v>
                </c:pt>
                <c:pt idx="58">
                  <c:v>13.926462893388623</c:v>
                </c:pt>
                <c:pt idx="59">
                  <c:v>13.812695844555517</c:v>
                </c:pt>
                <c:pt idx="60">
                  <c:v>13.707801330710813</c:v>
                </c:pt>
                <c:pt idx="61">
                  <c:v>13.60960721770058</c:v>
                </c:pt>
                <c:pt idx="62">
                  <c:v>13.516240945261799</c:v>
                </c:pt>
                <c:pt idx="63">
                  <c:v>13.425977347426171</c:v>
                </c:pt>
                <c:pt idx="64">
                  <c:v>13.337311761493744</c:v>
                </c:pt>
                <c:pt idx="65">
                  <c:v>13.249018967749693</c:v>
                </c:pt>
                <c:pt idx="66">
                  <c:v>13.160091264380704</c:v>
                </c:pt>
                <c:pt idx="67">
                  <c:v>13.069757166388953</c:v>
                </c:pt>
                <c:pt idx="68">
                  <c:v>12.977429325140532</c:v>
                </c:pt>
                <c:pt idx="69">
                  <c:v>12.88266400224488</c:v>
                </c:pt>
                <c:pt idx="70">
                  <c:v>12.785158166712534</c:v>
                </c:pt>
                <c:pt idx="71">
                  <c:v>12.684721452236106</c:v>
                </c:pt>
                <c:pt idx="72">
                  <c:v>12.581254946881527</c:v>
                </c:pt>
                <c:pt idx="73">
                  <c:v>12.474720582729391</c:v>
                </c:pt>
                <c:pt idx="74">
                  <c:v>12.365137583115679</c:v>
                </c:pt>
                <c:pt idx="75">
                  <c:v>12.252589963926921</c:v>
                </c:pt>
                <c:pt idx="76">
                  <c:v>12.137207908626058</c:v>
                </c:pt>
                <c:pt idx="77">
                  <c:v>12.019145496955005</c:v>
                </c:pt>
                <c:pt idx="78">
                  <c:v>11.898553367820552</c:v>
                </c:pt>
                <c:pt idx="79">
                  <c:v>11.775584587420081</c:v>
                </c:pt>
                <c:pt idx="80">
                  <c:v>11.650387184493843</c:v>
                </c:pt>
                <c:pt idx="81">
                  <c:v>11.523130377074077</c:v>
                </c:pt>
                <c:pt idx="82">
                  <c:v>11.393996912028904</c:v>
                </c:pt>
                <c:pt idx="83">
                  <c:v>11.263168512426509</c:v>
                </c:pt>
                <c:pt idx="84">
                  <c:v>11.130827607852732</c:v>
                </c:pt>
                <c:pt idx="85">
                  <c:v>10.997151587199518</c:v>
                </c:pt>
                <c:pt idx="86">
                  <c:v>10.862310310906956</c:v>
                </c:pt>
                <c:pt idx="87">
                  <c:v>10.726465929098584</c:v>
                </c:pt>
                <c:pt idx="88">
                  <c:v>10.589772843412559</c:v>
                </c:pt>
                <c:pt idx="89">
                  <c:v>10.452371470210474</c:v>
                </c:pt>
                <c:pt idx="90">
                  <c:v>10.314395806898045</c:v>
                </c:pt>
                <c:pt idx="91">
                  <c:v>10.175974053048469</c:v>
                </c:pt>
                <c:pt idx="92">
                  <c:v>10.037227580856454</c:v>
                </c:pt>
                <c:pt idx="93">
                  <c:v>9.8982704500754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9.779553773612339</c:v>
                </c:pt>
                <c:pt idx="32">
                  <c:v>28.737576252572254</c:v>
                </c:pt>
                <c:pt idx="33">
                  <c:v>27.714913705896929</c:v>
                </c:pt>
                <c:pt idx="34">
                  <c:v>26.768441368507961</c:v>
                </c:pt>
                <c:pt idx="35">
                  <c:v>25.936565772577939</c:v>
                </c:pt>
                <c:pt idx="36">
                  <c:v>25.267441335179907</c:v>
                </c:pt>
                <c:pt idx="37">
                  <c:v>24.598316897781878</c:v>
                </c:pt>
                <c:pt idx="38">
                  <c:v>24.408165479906213</c:v>
                </c:pt>
                <c:pt idx="39">
                  <c:v>24.292004845741811</c:v>
                </c:pt>
                <c:pt idx="40">
                  <c:v>24.24977346232517</c:v>
                </c:pt>
                <c:pt idx="41">
                  <c:v>24.280622566831109</c:v>
                </c:pt>
                <c:pt idx="42">
                  <c:v>24.383016923973166</c:v>
                </c:pt>
                <c:pt idx="43">
                  <c:v>24.554697792618033</c:v>
                </c:pt>
                <c:pt idx="44">
                  <c:v>24.793154198215817</c:v>
                </c:pt>
                <c:pt idx="45">
                  <c:v>25.095486313995824</c:v>
                </c:pt>
                <c:pt idx="46">
                  <c:v>25.458667365725976</c:v>
                </c:pt>
                <c:pt idx="47">
                  <c:v>25.879698937892165</c:v>
                </c:pt>
                <c:pt idx="48">
                  <c:v>26.354977496998888</c:v>
                </c:pt>
                <c:pt idx="49">
                  <c:v>26.879500775396124</c:v>
                </c:pt>
                <c:pt idx="50">
                  <c:v>27.447975830212972</c:v>
                </c:pt>
                <c:pt idx="51">
                  <c:v>28.055677212620939</c:v>
                </c:pt>
                <c:pt idx="52">
                  <c:v>28.698432864932716</c:v>
                </c:pt>
                <c:pt idx="53">
                  <c:v>29.37243833205514</c:v>
                </c:pt>
                <c:pt idx="54">
                  <c:v>30.074145460524857</c:v>
                </c:pt>
                <c:pt idx="55">
                  <c:v>30.800136704742574</c:v>
                </c:pt>
                <c:pt idx="56">
                  <c:v>31.546886832401711</c:v>
                </c:pt>
                <c:pt idx="57">
                  <c:v>32.310905233274049</c:v>
                </c:pt>
                <c:pt idx="58">
                  <c:v>33.08885127605577</c:v>
                </c:pt>
                <c:pt idx="59">
                  <c:v>33.877441050636598</c:v>
                </c:pt>
                <c:pt idx="60">
                  <c:v>34.67350191331726</c:v>
                </c:pt>
                <c:pt idx="61">
                  <c:v>35.473906152381012</c:v>
                </c:pt>
                <c:pt idx="62">
                  <c:v>36.275526191549346</c:v>
                </c:pt>
                <c:pt idx="63">
                  <c:v>37.07517404935993</c:v>
                </c:pt>
                <c:pt idx="64">
                  <c:v>37.869601936441043</c:v>
                </c:pt>
                <c:pt idx="65">
                  <c:v>38.655522482712108</c:v>
                </c:pt>
                <c:pt idx="66">
                  <c:v>39.429596743648936</c:v>
                </c:pt>
                <c:pt idx="67">
                  <c:v>40.188463724041668</c:v>
                </c:pt>
                <c:pt idx="68">
                  <c:v>40.928787157638027</c:v>
                </c:pt>
                <c:pt idx="69">
                  <c:v>41.64725660970872</c:v>
                </c:pt>
                <c:pt idx="70">
                  <c:v>42.340745056791526</c:v>
                </c:pt>
                <c:pt idx="71">
                  <c:v>43.006252375263401</c:v>
                </c:pt>
                <c:pt idx="72">
                  <c:v>43.640902173311709</c:v>
                </c:pt>
                <c:pt idx="73">
                  <c:v>44.241932097831139</c:v>
                </c:pt>
                <c:pt idx="74">
                  <c:v>44.806754551836875</c:v>
                </c:pt>
                <c:pt idx="75">
                  <c:v>45.332962394382328</c:v>
                </c:pt>
                <c:pt idx="76">
                  <c:v>45.818325333464394</c:v>
                </c:pt>
                <c:pt idx="77">
                  <c:v>46.26081245997652</c:v>
                </c:pt>
                <c:pt idx="78">
                  <c:v>46.658602266970661</c:v>
                </c:pt>
                <c:pt idx="79">
                  <c:v>47.010092358149578</c:v>
                </c:pt>
                <c:pt idx="80">
                  <c:v>47.313910949699334</c:v>
                </c:pt>
                <c:pt idx="81">
                  <c:v>47.568925367778817</c:v>
                </c:pt>
                <c:pt idx="82">
                  <c:v>47.774239787195</c:v>
                </c:pt>
                <c:pt idx="83">
                  <c:v>47.929213849508443</c:v>
                </c:pt>
                <c:pt idx="84">
                  <c:v>48.03346387944773</c:v>
                </c:pt>
                <c:pt idx="85">
                  <c:v>48.086855275578316</c:v>
                </c:pt>
                <c:pt idx="86">
                  <c:v>48.089498617446424</c:v>
                </c:pt>
                <c:pt idx="87">
                  <c:v>48.041749035574654</c:v>
                </c:pt>
                <c:pt idx="88">
                  <c:v>47.944202981179956</c:v>
                </c:pt>
                <c:pt idx="89">
                  <c:v>47.797692463063683</c:v>
                </c:pt>
                <c:pt idx="90">
                  <c:v>47.603276585888047</c:v>
                </c:pt>
                <c:pt idx="91">
                  <c:v>47.362230632805534</c:v>
                </c:pt>
                <c:pt idx="92">
                  <c:v>47.076031466344958</c:v>
                </c:pt>
                <c:pt idx="93">
                  <c:v>46.7463425206106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9.779553773612339</c:v>
                </c:pt>
                <c:pt idx="32">
                  <c:v>28.737576252572254</c:v>
                </c:pt>
                <c:pt idx="33">
                  <c:v>27.714913705896929</c:v>
                </c:pt>
                <c:pt idx="34">
                  <c:v>26.768441368507961</c:v>
                </c:pt>
                <c:pt idx="35">
                  <c:v>25.936565772577939</c:v>
                </c:pt>
                <c:pt idx="36">
                  <c:v>25.267441335179907</c:v>
                </c:pt>
                <c:pt idx="37">
                  <c:v>24.740603901457657</c:v>
                </c:pt>
                <c:pt idx="38">
                  <c:v>24.360301065706324</c:v>
                </c:pt>
                <c:pt idx="39">
                  <c:v>24.127979797377513</c:v>
                </c:pt>
                <c:pt idx="40">
                  <c:v>24.04351703054424</c:v>
                </c:pt>
                <c:pt idx="41">
                  <c:v>24.105215239556124</c:v>
                </c:pt>
                <c:pt idx="42">
                  <c:v>24.310003953840233</c:v>
                </c:pt>
                <c:pt idx="43">
                  <c:v>24.653365691129967</c:v>
                </c:pt>
                <c:pt idx="44">
                  <c:v>25.130278502325531</c:v>
                </c:pt>
                <c:pt idx="45">
                  <c:v>25.734942733885539</c:v>
                </c:pt>
                <c:pt idx="46">
                  <c:v>26.461304837345853</c:v>
                </c:pt>
                <c:pt idx="47">
                  <c:v>27.303367981678235</c:v>
                </c:pt>
                <c:pt idx="48">
                  <c:v>28.253925099891678</c:v>
                </c:pt>
                <c:pt idx="49">
                  <c:v>29.302971656686147</c:v>
                </c:pt>
                <c:pt idx="50">
                  <c:v>30.439921766319845</c:v>
                </c:pt>
                <c:pt idx="51">
                  <c:v>31.655324531135783</c:v>
                </c:pt>
                <c:pt idx="52">
                  <c:v>32.940835835759323</c:v>
                </c:pt>
                <c:pt idx="53">
                  <c:v>34.288846770004177</c:v>
                </c:pt>
                <c:pt idx="54">
                  <c:v>35.692261026943598</c:v>
                </c:pt>
                <c:pt idx="55">
                  <c:v>37.144243515379038</c:v>
                </c:pt>
                <c:pt idx="56">
                  <c:v>38.63774377069732</c:v>
                </c:pt>
                <c:pt idx="57">
                  <c:v>40.165780572441996</c:v>
                </c:pt>
                <c:pt idx="58">
                  <c:v>41.721672658005446</c:v>
                </c:pt>
                <c:pt idx="59">
                  <c:v>43.298852207167094</c:v>
                </c:pt>
                <c:pt idx="60">
                  <c:v>44.890973932528425</c:v>
                </c:pt>
                <c:pt idx="61">
                  <c:v>46.491782410655929</c:v>
                </c:pt>
                <c:pt idx="62">
                  <c:v>48.095022488992605</c:v>
                </c:pt>
                <c:pt idx="63">
                  <c:v>49.694318204613758</c:v>
                </c:pt>
                <c:pt idx="64">
                  <c:v>51.283173978775977</c:v>
                </c:pt>
                <c:pt idx="65">
                  <c:v>52.855015071318107</c:v>
                </c:pt>
                <c:pt idx="66">
                  <c:v>54.403163593191756</c:v>
                </c:pt>
                <c:pt idx="67">
                  <c:v>55.920897553977227</c:v>
                </c:pt>
                <c:pt idx="68">
                  <c:v>57.40154442116993</c:v>
                </c:pt>
                <c:pt idx="69">
                  <c:v>58.838483325311337</c:v>
                </c:pt>
                <c:pt idx="70">
                  <c:v>60.225460219476929</c:v>
                </c:pt>
                <c:pt idx="71">
                  <c:v>61.556474856420699</c:v>
                </c:pt>
                <c:pt idx="72">
                  <c:v>62.825774452517329</c:v>
                </c:pt>
                <c:pt idx="73">
                  <c:v>64.027834301556169</c:v>
                </c:pt>
                <c:pt idx="74">
                  <c:v>65.157479209567668</c:v>
                </c:pt>
                <c:pt idx="75">
                  <c:v>66.209894894658532</c:v>
                </c:pt>
                <c:pt idx="76">
                  <c:v>67.180620772822692</c:v>
                </c:pt>
                <c:pt idx="77">
                  <c:v>68.065595025846903</c:v>
                </c:pt>
                <c:pt idx="78">
                  <c:v>68.861174639835212</c:v>
                </c:pt>
                <c:pt idx="79">
                  <c:v>69.564154822193018</c:v>
                </c:pt>
                <c:pt idx="80">
                  <c:v>70.171792005292573</c:v>
                </c:pt>
                <c:pt idx="81">
                  <c:v>70.681820841451525</c:v>
                </c:pt>
                <c:pt idx="82">
                  <c:v>71.09244968028392</c:v>
                </c:pt>
                <c:pt idx="83">
                  <c:v>71.402397804910791</c:v>
                </c:pt>
                <c:pt idx="84">
                  <c:v>71.610897864789337</c:v>
                </c:pt>
                <c:pt idx="85">
                  <c:v>71.717680657050536</c:v>
                </c:pt>
                <c:pt idx="86">
                  <c:v>71.722967340786724</c:v>
                </c:pt>
                <c:pt idx="87">
                  <c:v>71.627468177043184</c:v>
                </c:pt>
                <c:pt idx="88">
                  <c:v>71.432376068253802</c:v>
                </c:pt>
                <c:pt idx="89">
                  <c:v>71.139355032021257</c:v>
                </c:pt>
                <c:pt idx="90">
                  <c:v>70.750523277669998</c:v>
                </c:pt>
                <c:pt idx="91">
                  <c:v>70.26843137150496</c:v>
                </c:pt>
                <c:pt idx="92">
                  <c:v>69.696033038583792</c:v>
                </c:pt>
                <c:pt idx="93">
                  <c:v>69.0366551471151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70</c:v>
                </c:pt>
                <c:pt idx="1">
                  <c:v>67</c:v>
                </c:pt>
                <c:pt idx="2">
                  <c:v>69</c:v>
                </c:pt>
                <c:pt idx="3">
                  <c:v>65</c:v>
                </c:pt>
                <c:pt idx="4">
                  <c:v>62</c:v>
                </c:pt>
                <c:pt idx="5">
                  <c:v>64</c:v>
                </c:pt>
                <c:pt idx="6">
                  <c:v>61</c:v>
                </c:pt>
                <c:pt idx="7">
                  <c:v>64</c:v>
                </c:pt>
                <c:pt idx="8">
                  <c:v>63</c:v>
                </c:pt>
                <c:pt idx="9">
                  <c:v>62</c:v>
                </c:pt>
                <c:pt idx="10">
                  <c:v>61</c:v>
                </c:pt>
                <c:pt idx="11">
                  <c:v>60</c:v>
                </c:pt>
                <c:pt idx="12">
                  <c:v>63</c:v>
                </c:pt>
                <c:pt idx="13">
                  <c:v>58</c:v>
                </c:pt>
                <c:pt idx="14">
                  <c:v>53</c:v>
                </c:pt>
                <c:pt idx="15">
                  <c:v>49</c:v>
                </c:pt>
                <c:pt idx="16">
                  <c:v>49</c:v>
                </c:pt>
                <c:pt idx="17">
                  <c:v>47</c:v>
                </c:pt>
                <c:pt idx="18">
                  <c:v>44</c:v>
                </c:pt>
                <c:pt idx="19">
                  <c:v>43</c:v>
                </c:pt>
                <c:pt idx="20">
                  <c:v>42</c:v>
                </c:pt>
                <c:pt idx="21">
                  <c:v>42</c:v>
                </c:pt>
                <c:pt idx="22">
                  <c:v>43</c:v>
                </c:pt>
                <c:pt idx="23">
                  <c:v>42</c:v>
                </c:pt>
                <c:pt idx="24">
                  <c:v>39</c:v>
                </c:pt>
                <c:pt idx="25">
                  <c:v>41</c:v>
                </c:pt>
                <c:pt idx="26">
                  <c:v>34</c:v>
                </c:pt>
                <c:pt idx="27">
                  <c:v>33</c:v>
                </c:pt>
                <c:pt idx="28">
                  <c:v>32</c:v>
                </c:pt>
                <c:pt idx="29">
                  <c:v>32</c:v>
                </c:pt>
                <c:pt idx="30">
                  <c:v>30</c:v>
                </c:pt>
                <c:pt idx="31">
                  <c:v>28</c:v>
                </c:pt>
                <c:pt idx="32">
                  <c:v>29</c:v>
                </c:pt>
                <c:pt idx="33">
                  <c:v>28</c:v>
                </c:pt>
                <c:pt idx="34">
                  <c:v>24</c:v>
                </c:pt>
                <c:pt idx="35">
                  <c:v>24</c:v>
                </c:pt>
                <c:pt idx="36">
                  <c:v>22</c:v>
                </c:pt>
                <c:pt idx="37">
                  <c:v>21</c:v>
                </c:pt>
                <c:pt idx="38">
                  <c:v>22</c:v>
                </c:pt>
                <c:pt idx="39">
                  <c:v>23</c:v>
                </c:pt>
                <c:pt idx="40">
                  <c:v>25</c:v>
                </c:pt>
                <c:pt idx="41">
                  <c:v>24</c:v>
                </c:pt>
                <c:pt idx="42">
                  <c:v>24</c:v>
                </c:pt>
                <c:pt idx="43">
                  <c:v>18</c:v>
                </c:pt>
                <c:pt idx="44">
                  <c:v>17</c:v>
                </c:pt>
                <c:pt idx="45">
                  <c:v>17</c:v>
                </c:pt>
                <c:pt idx="46">
                  <c:v>17</c:v>
                </c:pt>
                <c:pt idx="47">
                  <c:v>16</c:v>
                </c:pt>
                <c:pt idx="48">
                  <c:v>12</c:v>
                </c:pt>
                <c:pt idx="49">
                  <c:v>14</c:v>
                </c:pt>
                <c:pt idx="50">
                  <c:v>14</c:v>
                </c:pt>
                <c:pt idx="51">
                  <c:v>14</c:v>
                </c:pt>
                <c:pt idx="52">
                  <c:v>13</c:v>
                </c:pt>
                <c:pt idx="53">
                  <c:v>12</c:v>
                </c:pt>
                <c:pt idx="54">
                  <c:v>13</c:v>
                </c:pt>
                <c:pt idx="55">
                  <c:v>14</c:v>
                </c:pt>
                <c:pt idx="56">
                  <c:v>16</c:v>
                </c:pt>
                <c:pt idx="57">
                  <c:v>17</c:v>
                </c:pt>
                <c:pt idx="58">
                  <c:v>16</c:v>
                </c:pt>
                <c:pt idx="59">
                  <c:v>20</c:v>
                </c:pt>
                <c:pt idx="60">
                  <c:v>19</c:v>
                </c:pt>
                <c:pt idx="61">
                  <c:v>16</c:v>
                </c:pt>
                <c:pt idx="62">
                  <c:v>16</c:v>
                </c:pt>
                <c:pt idx="63">
                  <c:v>20</c:v>
                </c:pt>
                <c:pt idx="64">
                  <c:v>21</c:v>
                </c:pt>
                <c:pt idx="65">
                  <c:v>24</c:v>
                </c:pt>
                <c:pt idx="66">
                  <c:v>26</c:v>
                </c:pt>
                <c:pt idx="67">
                  <c:v>25</c:v>
                </c:pt>
                <c:pt idx="68">
                  <c:v>25</c:v>
                </c:pt>
                <c:pt idx="69">
                  <c:v>24</c:v>
                </c:pt>
                <c:pt idx="70">
                  <c:v>26</c:v>
                </c:pt>
                <c:pt idx="71">
                  <c:v>27</c:v>
                </c:pt>
                <c:pt idx="72">
                  <c:v>28</c:v>
                </c:pt>
                <c:pt idx="73">
                  <c:v>22</c:v>
                </c:pt>
                <c:pt idx="74">
                  <c:v>23</c:v>
                </c:pt>
                <c:pt idx="75">
                  <c:v>26</c:v>
                </c:pt>
                <c:pt idx="76">
                  <c:v>27</c:v>
                </c:pt>
                <c:pt idx="77">
                  <c:v>22</c:v>
                </c:pt>
                <c:pt idx="78">
                  <c:v>22</c:v>
                </c:pt>
                <c:pt idx="79">
                  <c:v>22</c:v>
                </c:pt>
                <c:pt idx="80">
                  <c:v>25</c:v>
                </c:pt>
                <c:pt idx="81">
                  <c:v>25</c:v>
                </c:pt>
                <c:pt idx="82">
                  <c:v>24</c:v>
                </c:pt>
                <c:pt idx="83">
                  <c:v>26</c:v>
                </c:pt>
                <c:pt idx="84">
                  <c:v>25</c:v>
                </c:pt>
                <c:pt idx="85">
                  <c:v>24</c:v>
                </c:pt>
                <c:pt idx="86">
                  <c:v>22</c:v>
                </c:pt>
                <c:pt idx="87">
                  <c:v>21</c:v>
                </c:pt>
                <c:pt idx="88">
                  <c:v>20</c:v>
                </c:pt>
                <c:pt idx="89">
                  <c:v>19</c:v>
                </c:pt>
                <c:pt idx="90">
                  <c:v>16</c:v>
                </c:pt>
                <c:pt idx="91">
                  <c:v>12</c:v>
                </c:pt>
                <c:pt idx="92">
                  <c:v>13</c:v>
                </c:pt>
                <c:pt idx="93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6.234368800563249</c:v>
                </c:pt>
                <c:pt idx="32">
                  <c:v>25.316436222504127</c:v>
                </c:pt>
                <c:pt idx="33">
                  <c:v>24.415519217099671</c:v>
                </c:pt>
                <c:pt idx="34">
                  <c:v>23.532378588508163</c:v>
                </c:pt>
                <c:pt idx="35">
                  <c:v>22.667662336603232</c:v>
                </c:pt>
                <c:pt idx="36">
                  <c:v>21.846524233303892</c:v>
                </c:pt>
                <c:pt idx="37">
                  <c:v>21.043017288839245</c:v>
                </c:pt>
                <c:pt idx="38">
                  <c:v>20.257586862462635</c:v>
                </c:pt>
                <c:pt idx="39">
                  <c:v>19.490602797466174</c:v>
                </c:pt>
                <c:pt idx="40">
                  <c:v>18.742385397138179</c:v>
                </c:pt>
                <c:pt idx="41">
                  <c:v>18.027648906191967</c:v>
                </c:pt>
                <c:pt idx="42">
                  <c:v>17.356349344886084</c:v>
                </c:pt>
                <c:pt idx="43">
                  <c:v>16.733200255207009</c:v>
                </c:pt>
                <c:pt idx="44">
                  <c:v>16.159715874827612</c:v>
                </c:pt>
                <c:pt idx="45">
                  <c:v>15.635638606587525</c:v>
                </c:pt>
                <c:pt idx="46">
                  <c:v>15.159740786309332</c:v>
                </c:pt>
                <c:pt idx="47">
                  <c:v>14.730246679473398</c:v>
                </c:pt>
                <c:pt idx="48">
                  <c:v>14.34491008755958</c:v>
                </c:pt>
                <c:pt idx="49">
                  <c:v>14.001116213563769</c:v>
                </c:pt>
                <c:pt idx="50">
                  <c:v>13.695897589571631</c:v>
                </c:pt>
                <c:pt idx="51">
                  <c:v>13.426214402251336</c:v>
                </c:pt>
                <c:pt idx="52">
                  <c:v>13.188918121830236</c:v>
                </c:pt>
                <c:pt idx="53">
                  <c:v>12.980908960142667</c:v>
                </c:pt>
                <c:pt idx="54">
                  <c:v>12.799235010695444</c:v>
                </c:pt>
                <c:pt idx="55">
                  <c:v>12.640779488890734</c:v>
                </c:pt>
                <c:pt idx="56">
                  <c:v>12.501866315416756</c:v>
                </c:pt>
                <c:pt idx="57">
                  <c:v>12.378843745387631</c:v>
                </c:pt>
                <c:pt idx="58">
                  <c:v>12.26855064417569</c:v>
                </c:pt>
                <c:pt idx="59">
                  <c:v>12.16832729163224</c:v>
                </c:pt>
                <c:pt idx="60">
                  <c:v>12.075920219911906</c:v>
                </c:pt>
                <c:pt idx="61">
                  <c:v>11.989415882260033</c:v>
                </c:pt>
                <c:pt idx="62">
                  <c:v>11.907164642254441</c:v>
                </c:pt>
                <c:pt idx="63">
                  <c:v>11.827646710827818</c:v>
                </c:pt>
                <c:pt idx="64">
                  <c:v>11.749536551792108</c:v>
                </c:pt>
                <c:pt idx="65">
                  <c:v>11.671754804922347</c:v>
                </c:pt>
                <c:pt idx="66">
                  <c:v>11.593413732906809</c:v>
                </c:pt>
                <c:pt idx="67">
                  <c:v>11.513833694199791</c:v>
                </c:pt>
                <c:pt idx="68">
                  <c:v>11.432497262623802</c:v>
                </c:pt>
                <c:pt idx="69">
                  <c:v>11.349013525787155</c:v>
                </c:pt>
                <c:pt idx="70">
                  <c:v>11.263115527818185</c:v>
                </c:pt>
                <c:pt idx="71">
                  <c:v>11.17463556506514</c:v>
                </c:pt>
                <c:pt idx="72">
                  <c:v>11.083486500824201</c:v>
                </c:pt>
                <c:pt idx="73">
                  <c:v>10.98963479907113</c:v>
                </c:pt>
                <c:pt idx="74">
                  <c:v>10.893097394649525</c:v>
                </c:pt>
                <c:pt idx="75">
                  <c:v>10.793948301554668</c:v>
                </c:pt>
                <c:pt idx="76">
                  <c:v>10.692302205218192</c:v>
                </c:pt>
                <c:pt idx="77">
                  <c:v>10.5882948425556</c:v>
                </c:pt>
                <c:pt idx="78">
                  <c:v>10.482058919270486</c:v>
                </c:pt>
                <c:pt idx="79">
                  <c:v>10.373729279393881</c:v>
                </c:pt>
                <c:pt idx="80">
                  <c:v>10.263436329196956</c:v>
                </c:pt>
                <c:pt idx="81">
                  <c:v>10.151329141708114</c:v>
                </c:pt>
                <c:pt idx="82">
                  <c:v>10.037568708215938</c:v>
                </c:pt>
                <c:pt idx="83">
                  <c:v>9.9223151180900189</c:v>
                </c:pt>
                <c:pt idx="84">
                  <c:v>9.8057290831083588</c:v>
                </c:pt>
                <c:pt idx="85">
                  <c:v>9.6879668744376701</c:v>
                </c:pt>
                <c:pt idx="86">
                  <c:v>9.5691781310370807</c:v>
                </c:pt>
                <c:pt idx="87">
                  <c:v>9.449505699443991</c:v>
                </c:pt>
                <c:pt idx="88">
                  <c:v>9.329085600149158</c:v>
                </c:pt>
                <c:pt idx="89">
                  <c:v>9.2080415332806567</c:v>
                </c:pt>
                <c:pt idx="90">
                  <c:v>9.0864915441720875</c:v>
                </c:pt>
                <c:pt idx="91">
                  <c:v>8.9645485705426982</c:v>
                </c:pt>
                <c:pt idx="92">
                  <c:v>8.8423195355164008</c:v>
                </c:pt>
                <c:pt idx="93">
                  <c:v>8.7199049203045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6.234368800563249</c:v>
                </c:pt>
                <c:pt idx="32">
                  <c:v>25.316436222504127</c:v>
                </c:pt>
                <c:pt idx="33">
                  <c:v>24.415519217099671</c:v>
                </c:pt>
                <c:pt idx="34">
                  <c:v>23.581722157971299</c:v>
                </c:pt>
                <c:pt idx="35">
                  <c:v>22.848879371080564</c:v>
                </c:pt>
                <c:pt idx="36">
                  <c:v>22.259412604801344</c:v>
                </c:pt>
                <c:pt idx="37">
                  <c:v>21.669945838522128</c:v>
                </c:pt>
                <c:pt idx="38">
                  <c:v>21.502431494203091</c:v>
                </c:pt>
                <c:pt idx="39">
                  <c:v>21.400099506963024</c:v>
                </c:pt>
                <c:pt idx="40">
                  <c:v>21.362895669191218</c:v>
                </c:pt>
                <c:pt idx="41">
                  <c:v>21.390072261255973</c:v>
                </c:pt>
                <c:pt idx="42">
                  <c:v>21.480276813976356</c:v>
                </c:pt>
                <c:pt idx="43">
                  <c:v>21.631519483973026</c:v>
                </c:pt>
                <c:pt idx="44">
                  <c:v>21.841588222237739</c:v>
                </c:pt>
                <c:pt idx="45">
                  <c:v>22.107928419472511</c:v>
                </c:pt>
                <c:pt idx="46">
                  <c:v>22.427873631710977</c:v>
                </c:pt>
                <c:pt idx="47">
                  <c:v>22.798782397666905</c:v>
                </c:pt>
                <c:pt idx="48">
                  <c:v>23.217480175927591</c:v>
                </c:pt>
                <c:pt idx="49">
                  <c:v>23.679560206896582</c:v>
                </c:pt>
                <c:pt idx="50">
                  <c:v>24.18035965994952</c:v>
                </c:pt>
                <c:pt idx="51">
                  <c:v>24.715715639689872</c:v>
                </c:pt>
                <c:pt idx="52">
                  <c:v>25.281952761964533</c:v>
                </c:pt>
                <c:pt idx="53">
                  <c:v>25.875719483000957</c:v>
                </c:pt>
                <c:pt idx="54">
                  <c:v>26.49389004855761</c:v>
                </c:pt>
                <c:pt idx="55">
                  <c:v>27.133453763701791</c:v>
                </c:pt>
                <c:pt idx="56">
                  <c:v>27.791305066639602</c:v>
                </c:pt>
                <c:pt idx="57">
                  <c:v>28.464368895979515</c:v>
                </c:pt>
                <c:pt idx="58">
                  <c:v>29.149702314620558</c:v>
                </c:pt>
                <c:pt idx="59">
                  <c:v>29.844412354132242</c:v>
                </c:pt>
                <c:pt idx="60">
                  <c:v>30.545704066493773</c:v>
                </c:pt>
                <c:pt idx="61">
                  <c:v>31.250822086621369</c:v>
                </c:pt>
                <c:pt idx="62">
                  <c:v>31.957011168745854</c:v>
                </c:pt>
                <c:pt idx="63">
                  <c:v>32.661462853007556</c:v>
                </c:pt>
                <c:pt idx="64">
                  <c:v>33.361315991626633</c:v>
                </c:pt>
                <c:pt idx="65">
                  <c:v>34.053674568103524</c:v>
                </c:pt>
                <c:pt idx="66">
                  <c:v>34.735597131309774</c:v>
                </c:pt>
                <c:pt idx="67">
                  <c:v>35.404122804512895</c:v>
                </c:pt>
                <c:pt idx="68">
                  <c:v>36.056312496014449</c:v>
                </c:pt>
                <c:pt idx="69">
                  <c:v>36.689249870457679</c:v>
                </c:pt>
                <c:pt idx="70">
                  <c:v>37.300180169078246</c:v>
                </c:pt>
                <c:pt idx="71">
                  <c:v>37.886460425827281</c:v>
                </c:pt>
                <c:pt idx="72">
                  <c:v>38.445556676488884</c:v>
                </c:pt>
                <c:pt idx="73">
                  <c:v>38.975035419517901</c:v>
                </c:pt>
                <c:pt idx="74">
                  <c:v>39.472617105189627</c:v>
                </c:pt>
                <c:pt idx="75">
                  <c:v>39.936181156955854</c:v>
                </c:pt>
                <c:pt idx="76">
                  <c:v>40.363762793766249</c:v>
                </c:pt>
                <c:pt idx="77">
                  <c:v>40.753572881407884</c:v>
                </c:pt>
                <c:pt idx="78">
                  <c:v>41.104006758997961</c:v>
                </c:pt>
                <c:pt idx="79">
                  <c:v>41.413652791703193</c:v>
                </c:pt>
                <c:pt idx="80">
                  <c:v>41.681302503306554</c:v>
                </c:pt>
                <c:pt idx="81">
                  <c:v>41.90595806209086</c:v>
                </c:pt>
                <c:pt idx="82">
                  <c:v>42.086830288719405</c:v>
                </c:pt>
                <c:pt idx="83">
                  <c:v>42.223355057900292</c:v>
                </c:pt>
                <c:pt idx="84">
                  <c:v>42.315194369989662</c:v>
                </c:pt>
                <c:pt idx="85">
                  <c:v>42.362229647533276</c:v>
                </c:pt>
                <c:pt idx="86">
                  <c:v>42.364558305845655</c:v>
                </c:pt>
                <c:pt idx="87">
                  <c:v>42.322493198006235</c:v>
                </c:pt>
                <c:pt idx="88">
                  <c:v>42.236559769134722</c:v>
                </c:pt>
                <c:pt idx="89">
                  <c:v>42.107490979365622</c:v>
                </c:pt>
                <c:pt idx="90">
                  <c:v>41.936219849472799</c:v>
                </c:pt>
                <c:pt idx="91">
                  <c:v>41.723869843185831</c:v>
                </c:pt>
                <c:pt idx="92">
                  <c:v>41.471742006065796</c:v>
                </c:pt>
                <c:pt idx="93">
                  <c:v>41.1813017443474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6.234368800563249</c:v>
                </c:pt>
                <c:pt idx="32">
                  <c:v>25.316436222504127</c:v>
                </c:pt>
                <c:pt idx="33">
                  <c:v>24.415519217099671</c:v>
                </c:pt>
                <c:pt idx="34">
                  <c:v>23.581722157971299</c:v>
                </c:pt>
                <c:pt idx="35">
                  <c:v>22.848879371080564</c:v>
                </c:pt>
                <c:pt idx="36">
                  <c:v>22.259412604801344</c:v>
                </c:pt>
                <c:pt idx="37">
                  <c:v>21.795293913188889</c:v>
                </c:pt>
                <c:pt idx="38">
                  <c:v>21.460265224550806</c:v>
                </c:pt>
                <c:pt idx="39">
                  <c:v>21.255601250070665</c:v>
                </c:pt>
                <c:pt idx="40">
                  <c:v>21.181193574527068</c:v>
                </c:pt>
                <c:pt idx="41">
                  <c:v>21.235546758656582</c:v>
                </c:pt>
                <c:pt idx="42">
                  <c:v>21.415955864097349</c:v>
                </c:pt>
                <c:pt idx="43">
                  <c:v>21.718441204090684</c:v>
                </c:pt>
                <c:pt idx="44">
                  <c:v>22.138578680620107</c:v>
                </c:pt>
                <c:pt idx="45">
                  <c:v>22.67125907508964</c:v>
                </c:pt>
                <c:pt idx="46">
                  <c:v>23.311149499566582</c:v>
                </c:pt>
                <c:pt idx="47">
                  <c:v>24.052967031478442</c:v>
                </c:pt>
                <c:pt idx="48">
                  <c:v>24.89036258799981</c:v>
                </c:pt>
                <c:pt idx="49">
                  <c:v>25.814522649937793</c:v>
                </c:pt>
                <c:pt idx="50">
                  <c:v>26.816121556043672</c:v>
                </c:pt>
                <c:pt idx="51">
                  <c:v>27.886833515524376</c:v>
                </c:pt>
                <c:pt idx="52">
                  <c:v>29.019307760073687</c:v>
                </c:pt>
                <c:pt idx="53">
                  <c:v>30.206841202146535</c:v>
                </c:pt>
                <c:pt idx="54">
                  <c:v>31.443182333259834</c:v>
                </c:pt>
                <c:pt idx="55">
                  <c:v>32.722309763548196</c:v>
                </c:pt>
                <c:pt idx="56">
                  <c:v>34.038012369423825</c:v>
                </c:pt>
                <c:pt idx="57">
                  <c:v>35.384140028103666</c:v>
                </c:pt>
                <c:pt idx="58">
                  <c:v>36.754806865385746</c:v>
                </c:pt>
                <c:pt idx="59">
                  <c:v>38.144226944409105</c:v>
                </c:pt>
                <c:pt idx="60">
                  <c:v>39.546810369132182</c:v>
                </c:pt>
                <c:pt idx="61">
                  <c:v>40.95704640938736</c:v>
                </c:pt>
                <c:pt idx="62">
                  <c:v>42.369424573636337</c:v>
                </c:pt>
                <c:pt idx="63">
                  <c:v>43.778327942159734</c:v>
                </c:pt>
                <c:pt idx="64">
                  <c:v>45.17803421939788</c:v>
                </c:pt>
                <c:pt idx="65">
                  <c:v>46.562751372351663</c:v>
                </c:pt>
                <c:pt idx="66">
                  <c:v>47.926596498764162</c:v>
                </c:pt>
                <c:pt idx="67">
                  <c:v>49.263647845170411</c:v>
                </c:pt>
                <c:pt idx="68">
                  <c:v>50.568027228173506</c:v>
                </c:pt>
                <c:pt idx="69">
                  <c:v>51.83390197705998</c:v>
                </c:pt>
                <c:pt idx="70">
                  <c:v>53.055762574301099</c:v>
                </c:pt>
                <c:pt idx="71">
                  <c:v>54.228323087799183</c:v>
                </c:pt>
                <c:pt idx="72">
                  <c:v>55.346515589122404</c:v>
                </c:pt>
                <c:pt idx="73">
                  <c:v>56.405473075180431</c:v>
                </c:pt>
                <c:pt idx="74">
                  <c:v>57.40063644652389</c:v>
                </c:pt>
                <c:pt idx="75">
                  <c:v>58.32776455005633</c:v>
                </c:pt>
                <c:pt idx="76">
                  <c:v>59.182927823677133</c:v>
                </c:pt>
                <c:pt idx="77">
                  <c:v>59.962547998960368</c:v>
                </c:pt>
                <c:pt idx="78">
                  <c:v>60.663415754140537</c:v>
                </c:pt>
                <c:pt idx="79">
                  <c:v>61.282707819550993</c:v>
                </c:pt>
                <c:pt idx="80">
                  <c:v>61.818007242757737</c:v>
                </c:pt>
                <c:pt idx="81">
                  <c:v>62.267318360326342</c:v>
                </c:pt>
                <c:pt idx="82">
                  <c:v>62.629062813583445</c:v>
                </c:pt>
                <c:pt idx="83">
                  <c:v>62.902112351945213</c:v>
                </c:pt>
                <c:pt idx="84">
                  <c:v>63.085790976123931</c:v>
                </c:pt>
                <c:pt idx="85">
                  <c:v>63.179861531211181</c:v>
                </c:pt>
                <c:pt idx="86">
                  <c:v>63.184518847835925</c:v>
                </c:pt>
                <c:pt idx="87">
                  <c:v>63.100388632157092</c:v>
                </c:pt>
                <c:pt idx="88">
                  <c:v>62.928521774414058</c:v>
                </c:pt>
                <c:pt idx="89">
                  <c:v>62.670384194875858</c:v>
                </c:pt>
                <c:pt idx="90">
                  <c:v>62.327841935090234</c:v>
                </c:pt>
                <c:pt idx="91">
                  <c:v>61.903141922516269</c:v>
                </c:pt>
                <c:pt idx="92">
                  <c:v>61.398886248276192</c:v>
                </c:pt>
                <c:pt idx="93">
                  <c:v>60.8180057248395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11</c:v>
                </c:pt>
                <c:pt idx="1">
                  <c:v>12</c:v>
                </c:pt>
                <c:pt idx="2">
                  <c:v>12</c:v>
                </c:pt>
                <c:pt idx="3">
                  <c:v>10</c:v>
                </c:pt>
                <c:pt idx="4">
                  <c:v>11</c:v>
                </c:pt>
                <c:pt idx="5">
                  <c:v>15</c:v>
                </c:pt>
                <c:pt idx="6">
                  <c:v>17</c:v>
                </c:pt>
                <c:pt idx="7">
                  <c:v>17</c:v>
                </c:pt>
                <c:pt idx="8">
                  <c:v>16</c:v>
                </c:pt>
                <c:pt idx="9">
                  <c:v>16</c:v>
                </c:pt>
                <c:pt idx="10">
                  <c:v>15</c:v>
                </c:pt>
                <c:pt idx="11">
                  <c:v>17</c:v>
                </c:pt>
                <c:pt idx="12">
                  <c:v>18</c:v>
                </c:pt>
                <c:pt idx="13">
                  <c:v>15</c:v>
                </c:pt>
                <c:pt idx="14">
                  <c:v>15</c:v>
                </c:pt>
                <c:pt idx="15">
                  <c:v>14</c:v>
                </c:pt>
                <c:pt idx="16">
                  <c:v>12</c:v>
                </c:pt>
                <c:pt idx="17">
                  <c:v>12</c:v>
                </c:pt>
                <c:pt idx="18">
                  <c:v>9</c:v>
                </c:pt>
                <c:pt idx="19">
                  <c:v>8</c:v>
                </c:pt>
                <c:pt idx="20">
                  <c:v>8</c:v>
                </c:pt>
                <c:pt idx="21">
                  <c:v>8</c:v>
                </c:pt>
                <c:pt idx="22">
                  <c:v>11</c:v>
                </c:pt>
                <c:pt idx="23">
                  <c:v>9</c:v>
                </c:pt>
                <c:pt idx="24">
                  <c:v>10</c:v>
                </c:pt>
                <c:pt idx="25">
                  <c:v>8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4</c:v>
                </c:pt>
                <c:pt idx="41">
                  <c:v>4</c:v>
                </c:pt>
                <c:pt idx="42">
                  <c:v>4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1</c:v>
                </c:pt>
                <c:pt idx="54">
                  <c:v>3</c:v>
                </c:pt>
                <c:pt idx="55">
                  <c:v>3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3</c:v>
                </c:pt>
                <c:pt idx="62">
                  <c:v>3</c:v>
                </c:pt>
                <c:pt idx="63">
                  <c:v>3</c:v>
                </c:pt>
                <c:pt idx="64">
                  <c:v>2</c:v>
                </c:pt>
                <c:pt idx="65">
                  <c:v>4</c:v>
                </c:pt>
                <c:pt idx="66">
                  <c:v>3</c:v>
                </c:pt>
                <c:pt idx="67">
                  <c:v>4</c:v>
                </c:pt>
                <c:pt idx="68">
                  <c:v>3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1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1</c:v>
                </c:pt>
                <c:pt idx="79">
                  <c:v>2</c:v>
                </c:pt>
                <c:pt idx="80">
                  <c:v>2</c:v>
                </c:pt>
                <c:pt idx="81">
                  <c:v>3</c:v>
                </c:pt>
                <c:pt idx="82">
                  <c:v>4</c:v>
                </c:pt>
                <c:pt idx="83">
                  <c:v>3</c:v>
                </c:pt>
                <c:pt idx="84">
                  <c:v>1</c:v>
                </c:pt>
                <c:pt idx="85">
                  <c:v>2</c:v>
                </c:pt>
                <c:pt idx="86">
                  <c:v>2</c:v>
                </c:pt>
                <c:pt idx="87">
                  <c:v>3</c:v>
                </c:pt>
                <c:pt idx="88">
                  <c:v>4</c:v>
                </c:pt>
                <c:pt idx="89">
                  <c:v>4</c:v>
                </c:pt>
                <c:pt idx="90">
                  <c:v>3</c:v>
                </c:pt>
                <c:pt idx="91">
                  <c:v>3</c:v>
                </c:pt>
                <c:pt idx="92">
                  <c:v>2</c:v>
                </c:pt>
                <c:pt idx="9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.67229595687854</c:v>
                </c:pt>
                <c:pt idx="32">
                  <c:v>5.4738240481090008</c:v>
                </c:pt>
                <c:pt idx="33">
                  <c:v>5.2790311820756051</c:v>
                </c:pt>
                <c:pt idx="34">
                  <c:v>5.0880818569747381</c:v>
                </c:pt>
                <c:pt idx="35">
                  <c:v>4.9011161808871853</c:v>
                </c:pt>
                <c:pt idx="36">
                  <c:v>4.723572807200842</c:v>
                </c:pt>
                <c:pt idx="37">
                  <c:v>4.5498415759652424</c:v>
                </c:pt>
                <c:pt idx="38">
                  <c:v>4.3800187810730025</c:v>
                </c:pt>
                <c:pt idx="39">
                  <c:v>4.2141843886413355</c:v>
                </c:pt>
                <c:pt idx="40">
                  <c:v>4.0524076534352815</c:v>
                </c:pt>
                <c:pt idx="41">
                  <c:v>3.8978700337712362</c:v>
                </c:pt>
                <c:pt idx="42">
                  <c:v>3.752724182678072</c:v>
                </c:pt>
                <c:pt idx="43">
                  <c:v>3.6179892443690833</c:v>
                </c:pt>
                <c:pt idx="44">
                  <c:v>3.4939926215843484</c:v>
                </c:pt>
                <c:pt idx="45">
                  <c:v>3.3806786176405463</c:v>
                </c:pt>
                <c:pt idx="46">
                  <c:v>3.27778179163445</c:v>
                </c:pt>
                <c:pt idx="47">
                  <c:v>3.1849182009672212</c:v>
                </c:pt>
                <c:pt idx="48">
                  <c:v>3.1016021810939631</c:v>
                </c:pt>
                <c:pt idx="49">
                  <c:v>3.0272683705002748</c:v>
                </c:pt>
                <c:pt idx="50">
                  <c:v>2.9612751545019744</c:v>
                </c:pt>
                <c:pt idx="51">
                  <c:v>2.9029652761624511</c:v>
                </c:pt>
                <c:pt idx="52">
                  <c:v>2.8516579722876187</c:v>
                </c:pt>
                <c:pt idx="53">
                  <c:v>2.8066830184092253</c:v>
                </c:pt>
                <c:pt idx="54">
                  <c:v>2.7674021644746909</c:v>
                </c:pt>
                <c:pt idx="55">
                  <c:v>2.7331415111115103</c:v>
                </c:pt>
                <c:pt idx="56">
                  <c:v>2.7031062303603801</c:v>
                </c:pt>
                <c:pt idx="57">
                  <c:v>2.6765067557594877</c:v>
                </c:pt>
                <c:pt idx="58">
                  <c:v>2.6526595987406898</c:v>
                </c:pt>
                <c:pt idx="59">
                  <c:v>2.6309896846772411</c:v>
                </c:pt>
                <c:pt idx="60">
                  <c:v>2.6110097772782499</c:v>
                </c:pt>
                <c:pt idx="61">
                  <c:v>2.5923061367048721</c:v>
                </c:pt>
                <c:pt idx="62">
                  <c:v>2.5745220848117714</c:v>
                </c:pt>
                <c:pt idx="63">
                  <c:v>2.5573290185573661</c:v>
                </c:pt>
                <c:pt idx="64">
                  <c:v>2.5404403355226179</c:v>
                </c:pt>
                <c:pt idx="65">
                  <c:v>2.5236226605237513</c:v>
                </c:pt>
                <c:pt idx="66">
                  <c:v>2.5066840503582291</c:v>
                </c:pt>
                <c:pt idx="67">
                  <c:v>2.4894775555026576</c:v>
                </c:pt>
                <c:pt idx="68">
                  <c:v>2.4718913000267682</c:v>
                </c:pt>
                <c:pt idx="69">
                  <c:v>2.4538407623323581</c:v>
                </c:pt>
                <c:pt idx="70">
                  <c:v>2.4352682222309587</c:v>
                </c:pt>
                <c:pt idx="71">
                  <c:v>2.4161374194735439</c:v>
                </c:pt>
                <c:pt idx="72">
                  <c:v>2.3964295136917193</c:v>
                </c:pt>
                <c:pt idx="73">
                  <c:v>2.3761372538532175</c:v>
                </c:pt>
                <c:pt idx="74">
                  <c:v>2.3552643015458434</c:v>
                </c:pt>
                <c:pt idx="75">
                  <c:v>2.3338266597956041</c:v>
                </c:pt>
                <c:pt idx="76">
                  <c:v>2.3118491254525821</c:v>
                </c:pt>
                <c:pt idx="77">
                  <c:v>2.2893610470390486</c:v>
                </c:pt>
                <c:pt idx="78">
                  <c:v>2.2663911176801053</c:v>
                </c:pt>
                <c:pt idx="79">
                  <c:v>2.2429684928419205</c:v>
                </c:pt>
                <c:pt idx="80">
                  <c:v>2.2191213684750175</c:v>
                </c:pt>
                <c:pt idx="81">
                  <c:v>2.1948819765855383</c:v>
                </c:pt>
                <c:pt idx="82">
                  <c:v>2.1702851261007434</c:v>
                </c:pt>
                <c:pt idx="83">
                  <c:v>2.1453654309383827</c:v>
                </c:pt>
                <c:pt idx="84">
                  <c:v>2.1201576395909965</c:v>
                </c:pt>
                <c:pt idx="85">
                  <c:v>2.094695540418956</c:v>
                </c:pt>
                <c:pt idx="86">
                  <c:v>2.0690114877918013</c:v>
                </c:pt>
                <c:pt idx="87">
                  <c:v>2.0431363674473495</c:v>
                </c:pt>
                <c:pt idx="88">
                  <c:v>2.0170995892214396</c:v>
                </c:pt>
                <c:pt idx="89">
                  <c:v>1.9909278990877095</c:v>
                </c:pt>
                <c:pt idx="90">
                  <c:v>1.9646468203615324</c:v>
                </c:pt>
                <c:pt idx="91">
                  <c:v>1.9382807720092321</c:v>
                </c:pt>
                <c:pt idx="92">
                  <c:v>1.9118528725440866</c:v>
                </c:pt>
                <c:pt idx="93">
                  <c:v>1.8853848476334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.67229595687854</c:v>
                </c:pt>
                <c:pt idx="32">
                  <c:v>5.4738240481090008</c:v>
                </c:pt>
                <c:pt idx="33">
                  <c:v>5.2790311820756051</c:v>
                </c:pt>
                <c:pt idx="34">
                  <c:v>5.0987507368586593</c:v>
                </c:pt>
                <c:pt idx="35">
                  <c:v>4.940298242395798</c:v>
                </c:pt>
                <c:pt idx="36">
                  <c:v>4.8128459686056964</c:v>
                </c:pt>
                <c:pt idx="37">
                  <c:v>4.6853936948155956</c:v>
                </c:pt>
                <c:pt idx="38">
                  <c:v>4.6491743771249929</c:v>
                </c:pt>
                <c:pt idx="39">
                  <c:v>4.627048542046059</c:v>
                </c:pt>
                <c:pt idx="40">
                  <c:v>4.6190044690143175</c:v>
                </c:pt>
                <c:pt idx="41">
                  <c:v>4.6248804889202111</c:v>
                </c:pt>
                <c:pt idx="42">
                  <c:v>4.6443841759948885</c:v>
                </c:pt>
                <c:pt idx="43">
                  <c:v>4.6770852938320067</c:v>
                </c:pt>
                <c:pt idx="44">
                  <c:v>4.7225055615649172</c:v>
                </c:pt>
                <c:pt idx="45">
                  <c:v>4.7800926312372995</c:v>
                </c:pt>
                <c:pt idx="46">
                  <c:v>4.8492699744239953</c:v>
                </c:pt>
                <c:pt idx="47">
                  <c:v>4.9294664643604129</c:v>
                </c:pt>
                <c:pt idx="48">
                  <c:v>5.0199957137140743</c:v>
                </c:pt>
                <c:pt idx="49">
                  <c:v>5.1199049095992617</c:v>
                </c:pt>
                <c:pt idx="50">
                  <c:v>5.228185872421518</c:v>
                </c:pt>
                <c:pt idx="51">
                  <c:v>5.3439385166897022</c:v>
                </c:pt>
                <c:pt idx="52">
                  <c:v>5.4663681647490883</c:v>
                </c:pt>
                <c:pt idx="53">
                  <c:v>5.5947501584866934</c:v>
                </c:pt>
                <c:pt idx="54">
                  <c:v>5.7284086591475916</c:v>
                </c:pt>
                <c:pt idx="55">
                  <c:v>5.866692705665252</c:v>
                </c:pt>
                <c:pt idx="56">
                  <c:v>6.0089308252193732</c:v>
                </c:pt>
                <c:pt idx="57">
                  <c:v>6.154458139671247</c:v>
                </c:pt>
                <c:pt idx="58">
                  <c:v>6.3026383382963376</c:v>
                </c:pt>
                <c:pt idx="59">
                  <c:v>6.4528459144069714</c:v>
                </c:pt>
                <c:pt idx="60">
                  <c:v>6.6044765549175724</c:v>
                </c:pt>
                <c:pt idx="61">
                  <c:v>6.7569345052154315</c:v>
                </c:pt>
                <c:pt idx="62">
                  <c:v>6.9096240364855905</c:v>
                </c:pt>
                <c:pt idx="63">
                  <c:v>7.0619379141637957</c:v>
                </c:pt>
                <c:pt idx="64">
                  <c:v>7.2132575117030564</c:v>
                </c:pt>
                <c:pt idx="65">
                  <c:v>7.3629566633737351</c:v>
                </c:pt>
                <c:pt idx="66">
                  <c:v>7.5103993797426538</c:v>
                </c:pt>
                <c:pt idx="67">
                  <c:v>7.6549454712460321</c:v>
                </c:pt>
                <c:pt idx="68">
                  <c:v>7.7959594585977188</c:v>
                </c:pt>
                <c:pt idx="69">
                  <c:v>7.9328107828016607</c:v>
                </c:pt>
                <c:pt idx="70">
                  <c:v>8.0649038203412431</c:v>
                </c:pt>
                <c:pt idx="71">
                  <c:v>8.1916671190977901</c:v>
                </c:pt>
                <c:pt idx="72">
                  <c:v>8.312552794916515</c:v>
                </c:pt>
                <c:pt idx="73">
                  <c:v>8.4270346853011695</c:v>
                </c:pt>
                <c:pt idx="74">
                  <c:v>8.534619914635595</c:v>
                </c:pt>
                <c:pt idx="75">
                  <c:v>8.6348499798823486</c:v>
                </c:pt>
                <c:pt idx="76">
                  <c:v>8.7273000635170277</c:v>
                </c:pt>
                <c:pt idx="77">
                  <c:v>8.8115833257098135</c:v>
                </c:pt>
                <c:pt idx="78">
                  <c:v>8.8873528127563155</c:v>
                </c:pt>
                <c:pt idx="79">
                  <c:v>8.9543033063142037</c:v>
                </c:pt>
                <c:pt idx="80">
                  <c:v>9.0121735142284454</c:v>
                </c:pt>
                <c:pt idx="81">
                  <c:v>9.0607476891007259</c:v>
                </c:pt>
                <c:pt idx="82">
                  <c:v>9.0998551975609523</c:v>
                </c:pt>
                <c:pt idx="83">
                  <c:v>9.1293740665730372</c:v>
                </c:pt>
                <c:pt idx="84">
                  <c:v>9.1492312151329003</c:v>
                </c:pt>
                <c:pt idx="85">
                  <c:v>9.1594010048720609</c:v>
                </c:pt>
                <c:pt idx="86">
                  <c:v>9.1599044985612235</c:v>
                </c:pt>
                <c:pt idx="87">
                  <c:v>9.1508093401094577</c:v>
                </c:pt>
                <c:pt idx="88">
                  <c:v>9.132229139272372</c:v>
                </c:pt>
                <c:pt idx="89">
                  <c:v>9.1043223739168919</c:v>
                </c:pt>
                <c:pt idx="90">
                  <c:v>9.0672907782643897</c:v>
                </c:pt>
                <c:pt idx="91">
                  <c:v>9.0213772633915301</c:v>
                </c:pt>
                <c:pt idx="92">
                  <c:v>8.9668631364466584</c:v>
                </c:pt>
                <c:pt idx="93">
                  <c:v>8.9040652420210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.67229595687854</c:v>
                </c:pt>
                <c:pt idx="32">
                  <c:v>5.4738240481090008</c:v>
                </c:pt>
                <c:pt idx="33">
                  <c:v>5.2790311820756051</c:v>
                </c:pt>
                <c:pt idx="34">
                  <c:v>5.0987507368586593</c:v>
                </c:pt>
                <c:pt idx="35">
                  <c:v>4.940298242395798</c:v>
                </c:pt>
                <c:pt idx="36">
                  <c:v>4.8128459686056964</c:v>
                </c:pt>
                <c:pt idx="37">
                  <c:v>4.7124959812300302</c:v>
                </c:pt>
                <c:pt idx="38">
                  <c:v>4.6400573458488239</c:v>
                </c:pt>
                <c:pt idx="39">
                  <c:v>4.5958056756909551</c:v>
                </c:pt>
                <c:pt idx="40">
                  <c:v>4.5797175296274739</c:v>
                </c:pt>
                <c:pt idx="41">
                  <c:v>4.5914695694392611</c:v>
                </c:pt>
                <c:pt idx="42">
                  <c:v>4.6304769435886159</c:v>
                </c:pt>
                <c:pt idx="43">
                  <c:v>4.6958791792628514</c:v>
                </c:pt>
                <c:pt idx="44">
                  <c:v>4.7867197147286724</c:v>
                </c:pt>
                <c:pt idx="45">
                  <c:v>4.9018938540734363</c:v>
                </c:pt>
                <c:pt idx="46">
                  <c:v>5.0402485404468287</c:v>
                </c:pt>
                <c:pt idx="47">
                  <c:v>5.2006415203196639</c:v>
                </c:pt>
                <c:pt idx="48">
                  <c:v>5.3817000190269866</c:v>
                </c:pt>
                <c:pt idx="49">
                  <c:v>5.5815184107973614</c:v>
                </c:pt>
                <c:pt idx="50">
                  <c:v>5.7980803364418749</c:v>
                </c:pt>
                <c:pt idx="51">
                  <c:v>6.0295856249782442</c:v>
                </c:pt>
                <c:pt idx="52">
                  <c:v>6.2744449210970137</c:v>
                </c:pt>
                <c:pt idx="53">
                  <c:v>6.5312089085722249</c:v>
                </c:pt>
                <c:pt idx="54">
                  <c:v>6.7985259098940185</c:v>
                </c:pt>
                <c:pt idx="55">
                  <c:v>7.0750940029293403</c:v>
                </c:pt>
                <c:pt idx="56">
                  <c:v>7.3595702420375853</c:v>
                </c:pt>
                <c:pt idx="57">
                  <c:v>7.6506248709413329</c:v>
                </c:pt>
                <c:pt idx="58">
                  <c:v>7.9469852681915132</c:v>
                </c:pt>
                <c:pt idx="59">
                  <c:v>8.2474004204127791</c:v>
                </c:pt>
                <c:pt idx="60">
                  <c:v>8.5506617014339863</c:v>
                </c:pt>
                <c:pt idx="61">
                  <c:v>8.855577602029701</c:v>
                </c:pt>
                <c:pt idx="62">
                  <c:v>9.1609566645700191</c:v>
                </c:pt>
                <c:pt idx="63">
                  <c:v>9.4655844199264294</c:v>
                </c:pt>
                <c:pt idx="64">
                  <c:v>9.7682236150049473</c:v>
                </c:pt>
                <c:pt idx="65">
                  <c:v>10.067621918346306</c:v>
                </c:pt>
                <c:pt idx="66">
                  <c:v>10.362507351084144</c:v>
                </c:pt>
                <c:pt idx="67">
                  <c:v>10.6515995340909</c:v>
                </c:pt>
                <c:pt idx="68">
                  <c:v>10.933627508794272</c:v>
                </c:pt>
                <c:pt idx="69">
                  <c:v>11.20733015720216</c:v>
                </c:pt>
                <c:pt idx="70">
                  <c:v>11.471516232281319</c:v>
                </c:pt>
                <c:pt idx="71">
                  <c:v>11.725042829794418</c:v>
                </c:pt>
                <c:pt idx="72">
                  <c:v>11.966814181431872</c:v>
                </c:pt>
                <c:pt idx="73">
                  <c:v>12.195777962201175</c:v>
                </c:pt>
                <c:pt idx="74">
                  <c:v>12.410948420870032</c:v>
                </c:pt>
                <c:pt idx="75">
                  <c:v>12.611408551363532</c:v>
                </c:pt>
                <c:pt idx="76">
                  <c:v>12.796308718632895</c:v>
                </c:pt>
                <c:pt idx="77">
                  <c:v>12.964875243018458</c:v>
                </c:pt>
                <c:pt idx="78">
                  <c:v>13.116414217111467</c:v>
                </c:pt>
                <c:pt idx="79">
                  <c:v>13.250315204227242</c:v>
                </c:pt>
                <c:pt idx="80">
                  <c:v>13.366055620055727</c:v>
                </c:pt>
                <c:pt idx="81">
                  <c:v>13.46320396980029</c:v>
                </c:pt>
                <c:pt idx="82">
                  <c:v>13.541418986720746</c:v>
                </c:pt>
                <c:pt idx="83">
                  <c:v>13.600456724744912</c:v>
                </c:pt>
                <c:pt idx="84">
                  <c:v>13.640171021864635</c:v>
                </c:pt>
                <c:pt idx="85">
                  <c:v>13.660510601342958</c:v>
                </c:pt>
                <c:pt idx="86">
                  <c:v>13.661517588721281</c:v>
                </c:pt>
                <c:pt idx="87">
                  <c:v>13.64332727181775</c:v>
                </c:pt>
                <c:pt idx="88">
                  <c:v>13.606166870143582</c:v>
                </c:pt>
                <c:pt idx="89">
                  <c:v>13.550353339432618</c:v>
                </c:pt>
                <c:pt idx="90">
                  <c:v>13.476290148127619</c:v>
                </c:pt>
                <c:pt idx="91">
                  <c:v>13.384463118381897</c:v>
                </c:pt>
                <c:pt idx="92">
                  <c:v>13.27543486449215</c:v>
                </c:pt>
                <c:pt idx="93">
                  <c:v>13.1498390756409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59</c:v>
                </c:pt>
                <c:pt idx="1">
                  <c:v>59</c:v>
                </c:pt>
                <c:pt idx="2">
                  <c:v>61</c:v>
                </c:pt>
                <c:pt idx="3">
                  <c:v>59</c:v>
                </c:pt>
                <c:pt idx="4">
                  <c:v>62</c:v>
                </c:pt>
                <c:pt idx="5">
                  <c:v>62</c:v>
                </c:pt>
                <c:pt idx="6">
                  <c:v>75</c:v>
                </c:pt>
                <c:pt idx="7">
                  <c:v>68</c:v>
                </c:pt>
                <c:pt idx="8">
                  <c:v>70</c:v>
                </c:pt>
                <c:pt idx="9">
                  <c:v>65</c:v>
                </c:pt>
                <c:pt idx="10">
                  <c:v>62</c:v>
                </c:pt>
                <c:pt idx="11">
                  <c:v>63</c:v>
                </c:pt>
                <c:pt idx="12">
                  <c:v>68</c:v>
                </c:pt>
                <c:pt idx="13">
                  <c:v>62</c:v>
                </c:pt>
                <c:pt idx="14">
                  <c:v>54</c:v>
                </c:pt>
                <c:pt idx="15">
                  <c:v>53</c:v>
                </c:pt>
                <c:pt idx="16">
                  <c:v>47</c:v>
                </c:pt>
                <c:pt idx="17">
                  <c:v>51</c:v>
                </c:pt>
                <c:pt idx="18">
                  <c:v>53</c:v>
                </c:pt>
                <c:pt idx="19">
                  <c:v>60</c:v>
                </c:pt>
                <c:pt idx="20">
                  <c:v>60</c:v>
                </c:pt>
                <c:pt idx="21">
                  <c:v>58</c:v>
                </c:pt>
                <c:pt idx="22">
                  <c:v>47</c:v>
                </c:pt>
                <c:pt idx="23">
                  <c:v>47</c:v>
                </c:pt>
                <c:pt idx="24">
                  <c:v>45</c:v>
                </c:pt>
                <c:pt idx="25">
                  <c:v>49</c:v>
                </c:pt>
                <c:pt idx="26">
                  <c:v>57</c:v>
                </c:pt>
                <c:pt idx="27">
                  <c:v>58</c:v>
                </c:pt>
                <c:pt idx="28">
                  <c:v>59</c:v>
                </c:pt>
                <c:pt idx="29">
                  <c:v>52</c:v>
                </c:pt>
                <c:pt idx="30">
                  <c:v>53</c:v>
                </c:pt>
                <c:pt idx="31">
                  <c:v>51</c:v>
                </c:pt>
                <c:pt idx="32">
                  <c:v>51</c:v>
                </c:pt>
                <c:pt idx="33">
                  <c:v>53</c:v>
                </c:pt>
                <c:pt idx="34">
                  <c:v>52</c:v>
                </c:pt>
                <c:pt idx="35">
                  <c:v>47</c:v>
                </c:pt>
                <c:pt idx="36">
                  <c:v>51</c:v>
                </c:pt>
                <c:pt idx="37">
                  <c:v>53</c:v>
                </c:pt>
                <c:pt idx="38">
                  <c:v>49</c:v>
                </c:pt>
                <c:pt idx="39">
                  <c:v>47</c:v>
                </c:pt>
                <c:pt idx="40">
                  <c:v>48</c:v>
                </c:pt>
                <c:pt idx="41">
                  <c:v>52</c:v>
                </c:pt>
                <c:pt idx="42">
                  <c:v>50</c:v>
                </c:pt>
                <c:pt idx="43">
                  <c:v>52</c:v>
                </c:pt>
                <c:pt idx="44">
                  <c:v>46</c:v>
                </c:pt>
                <c:pt idx="45">
                  <c:v>39</c:v>
                </c:pt>
                <c:pt idx="46">
                  <c:v>38</c:v>
                </c:pt>
                <c:pt idx="47">
                  <c:v>39</c:v>
                </c:pt>
                <c:pt idx="48">
                  <c:v>37</c:v>
                </c:pt>
                <c:pt idx="49">
                  <c:v>37</c:v>
                </c:pt>
                <c:pt idx="50">
                  <c:v>32</c:v>
                </c:pt>
                <c:pt idx="51">
                  <c:v>25</c:v>
                </c:pt>
                <c:pt idx="52">
                  <c:v>25</c:v>
                </c:pt>
                <c:pt idx="53">
                  <c:v>25</c:v>
                </c:pt>
                <c:pt idx="54">
                  <c:v>30</c:v>
                </c:pt>
                <c:pt idx="55">
                  <c:v>28</c:v>
                </c:pt>
                <c:pt idx="56">
                  <c:v>27</c:v>
                </c:pt>
                <c:pt idx="57">
                  <c:v>27</c:v>
                </c:pt>
                <c:pt idx="58">
                  <c:v>23</c:v>
                </c:pt>
                <c:pt idx="59">
                  <c:v>21</c:v>
                </c:pt>
                <c:pt idx="60">
                  <c:v>21</c:v>
                </c:pt>
                <c:pt idx="61">
                  <c:v>18</c:v>
                </c:pt>
                <c:pt idx="62">
                  <c:v>23</c:v>
                </c:pt>
                <c:pt idx="63">
                  <c:v>23</c:v>
                </c:pt>
                <c:pt idx="64">
                  <c:v>20</c:v>
                </c:pt>
                <c:pt idx="65">
                  <c:v>20</c:v>
                </c:pt>
                <c:pt idx="66">
                  <c:v>21</c:v>
                </c:pt>
                <c:pt idx="67">
                  <c:v>21</c:v>
                </c:pt>
                <c:pt idx="68">
                  <c:v>23</c:v>
                </c:pt>
                <c:pt idx="69">
                  <c:v>24</c:v>
                </c:pt>
                <c:pt idx="70">
                  <c:v>25</c:v>
                </c:pt>
                <c:pt idx="71">
                  <c:v>27</c:v>
                </c:pt>
                <c:pt idx="72">
                  <c:v>27</c:v>
                </c:pt>
                <c:pt idx="73">
                  <c:v>26</c:v>
                </c:pt>
                <c:pt idx="74">
                  <c:v>28</c:v>
                </c:pt>
                <c:pt idx="75">
                  <c:v>28</c:v>
                </c:pt>
                <c:pt idx="76">
                  <c:v>26</c:v>
                </c:pt>
                <c:pt idx="77">
                  <c:v>23</c:v>
                </c:pt>
                <c:pt idx="78">
                  <c:v>20</c:v>
                </c:pt>
                <c:pt idx="79">
                  <c:v>16</c:v>
                </c:pt>
                <c:pt idx="80">
                  <c:v>15</c:v>
                </c:pt>
                <c:pt idx="81">
                  <c:v>15</c:v>
                </c:pt>
                <c:pt idx="82">
                  <c:v>17</c:v>
                </c:pt>
                <c:pt idx="83">
                  <c:v>16</c:v>
                </c:pt>
                <c:pt idx="84">
                  <c:v>25</c:v>
                </c:pt>
                <c:pt idx="85">
                  <c:v>25</c:v>
                </c:pt>
                <c:pt idx="86">
                  <c:v>21</c:v>
                </c:pt>
                <c:pt idx="87">
                  <c:v>22</c:v>
                </c:pt>
                <c:pt idx="88">
                  <c:v>20</c:v>
                </c:pt>
                <c:pt idx="89">
                  <c:v>20</c:v>
                </c:pt>
                <c:pt idx="90">
                  <c:v>15</c:v>
                </c:pt>
                <c:pt idx="91">
                  <c:v>10</c:v>
                </c:pt>
                <c:pt idx="92">
                  <c:v>10</c:v>
                </c:pt>
                <c:pt idx="93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1.833182681979238</c:v>
                </c:pt>
                <c:pt idx="32">
                  <c:v>40.369452354803883</c:v>
                </c:pt>
                <c:pt idx="33">
                  <c:v>38.932854967807593</c:v>
                </c:pt>
                <c:pt idx="34">
                  <c:v>37.524603695188695</c:v>
                </c:pt>
                <c:pt idx="35">
                  <c:v>36.145731834042998</c:v>
                </c:pt>
                <c:pt idx="36">
                  <c:v>34.836349453106209</c:v>
                </c:pt>
                <c:pt idx="37">
                  <c:v>33.555081622743664</c:v>
                </c:pt>
                <c:pt idx="38">
                  <c:v>32.302638510413395</c:v>
                </c:pt>
                <c:pt idx="39">
                  <c:v>31.079609866229852</c:v>
                </c:pt>
                <c:pt idx="40">
                  <c:v>29.886506444085207</c:v>
                </c:pt>
                <c:pt idx="41">
                  <c:v>28.746791499062869</c:v>
                </c:pt>
                <c:pt idx="42">
                  <c:v>27.676340847250781</c:v>
                </c:pt>
                <c:pt idx="43">
                  <c:v>26.682670677221989</c:v>
                </c:pt>
                <c:pt idx="44">
                  <c:v>25.768195584184571</c:v>
                </c:pt>
                <c:pt idx="45">
                  <c:v>24.932504805099029</c:v>
                </c:pt>
                <c:pt idx="46">
                  <c:v>24.173640713304071</c:v>
                </c:pt>
                <c:pt idx="47">
                  <c:v>23.488771732133259</c:v>
                </c:pt>
                <c:pt idx="48">
                  <c:v>22.87431608556798</c:v>
                </c:pt>
                <c:pt idx="49">
                  <c:v>22.326104232439526</c:v>
                </c:pt>
                <c:pt idx="50">
                  <c:v>21.839404264452064</c:v>
                </c:pt>
                <c:pt idx="51">
                  <c:v>21.409368911698078</c:v>
                </c:pt>
                <c:pt idx="52">
                  <c:v>21.030977545621187</c:v>
                </c:pt>
                <c:pt idx="53">
                  <c:v>20.699287260768038</c:v>
                </c:pt>
                <c:pt idx="54">
                  <c:v>20.409590963000845</c:v>
                </c:pt>
                <c:pt idx="55">
                  <c:v>20.156918644447391</c:v>
                </c:pt>
                <c:pt idx="56">
                  <c:v>19.935408448907804</c:v>
                </c:pt>
                <c:pt idx="57">
                  <c:v>19.739237323726222</c:v>
                </c:pt>
                <c:pt idx="58">
                  <c:v>19.563364540712588</c:v>
                </c:pt>
                <c:pt idx="59">
                  <c:v>19.403548924494654</c:v>
                </c:pt>
                <c:pt idx="60">
                  <c:v>19.256197107427095</c:v>
                </c:pt>
                <c:pt idx="61">
                  <c:v>19.118257758198432</c:v>
                </c:pt>
                <c:pt idx="62">
                  <c:v>18.987100375486815</c:v>
                </c:pt>
                <c:pt idx="63">
                  <c:v>18.860301511860573</c:v>
                </c:pt>
                <c:pt idx="64">
                  <c:v>18.735747474479307</c:v>
                </c:pt>
                <c:pt idx="65">
                  <c:v>18.611717121362666</c:v>
                </c:pt>
                <c:pt idx="66">
                  <c:v>18.48679487139194</c:v>
                </c:pt>
                <c:pt idx="67">
                  <c:v>18.3598969718321</c:v>
                </c:pt>
                <c:pt idx="68">
                  <c:v>18.230198337697416</c:v>
                </c:pt>
                <c:pt idx="69">
                  <c:v>18.097075622201142</c:v>
                </c:pt>
                <c:pt idx="70">
                  <c:v>17.960103138953322</c:v>
                </c:pt>
                <c:pt idx="71">
                  <c:v>17.819013468617388</c:v>
                </c:pt>
                <c:pt idx="72">
                  <c:v>17.673667663476429</c:v>
                </c:pt>
                <c:pt idx="73">
                  <c:v>17.52401224716748</c:v>
                </c:pt>
                <c:pt idx="74">
                  <c:v>17.370074223900595</c:v>
                </c:pt>
                <c:pt idx="75">
                  <c:v>17.211971615992578</c:v>
                </c:pt>
                <c:pt idx="76">
                  <c:v>17.049887300212795</c:v>
                </c:pt>
                <c:pt idx="77">
                  <c:v>16.884037721912986</c:v>
                </c:pt>
                <c:pt idx="78">
                  <c:v>16.714634492890774</c:v>
                </c:pt>
                <c:pt idx="79">
                  <c:v>16.541892634709164</c:v>
                </c:pt>
                <c:pt idx="80">
                  <c:v>16.366020092503256</c:v>
                </c:pt>
                <c:pt idx="81">
                  <c:v>16.187254577318345</c:v>
                </c:pt>
                <c:pt idx="82">
                  <c:v>16.005852804992983</c:v>
                </c:pt>
                <c:pt idx="83">
                  <c:v>15.822070053170572</c:v>
                </c:pt>
                <c:pt idx="84">
                  <c:v>15.6361625919836</c:v>
                </c:pt>
                <c:pt idx="85">
                  <c:v>15.4483796105898</c:v>
                </c:pt>
                <c:pt idx="86">
                  <c:v>15.258959722464535</c:v>
                </c:pt>
                <c:pt idx="87">
                  <c:v>15.068130709924203</c:v>
                </c:pt>
                <c:pt idx="88">
                  <c:v>14.876109470508119</c:v>
                </c:pt>
                <c:pt idx="89">
                  <c:v>14.683093255771858</c:v>
                </c:pt>
                <c:pt idx="90">
                  <c:v>14.489270300166302</c:v>
                </c:pt>
                <c:pt idx="91">
                  <c:v>14.294820693568086</c:v>
                </c:pt>
                <c:pt idx="92">
                  <c:v>14.09991493501264</c:v>
                </c:pt>
                <c:pt idx="93">
                  <c:v>13.90471325129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1.833182681979238</c:v>
                </c:pt>
                <c:pt idx="32">
                  <c:v>40.369452354803883</c:v>
                </c:pt>
                <c:pt idx="33">
                  <c:v>38.932854967807593</c:v>
                </c:pt>
                <c:pt idx="34">
                  <c:v>37.603286684332616</c:v>
                </c:pt>
                <c:pt idx="35">
                  <c:v>36.434699537669012</c:v>
                </c:pt>
                <c:pt idx="36">
                  <c:v>35.494739018467016</c:v>
                </c:pt>
                <c:pt idx="37">
                  <c:v>34.554778499265019</c:v>
                </c:pt>
                <c:pt idx="38">
                  <c:v>34.287661031296828</c:v>
                </c:pt>
                <c:pt idx="39">
                  <c:v>34.124482997589688</c:v>
                </c:pt>
                <c:pt idx="40">
                  <c:v>34.065157958980599</c:v>
                </c:pt>
                <c:pt idx="41">
                  <c:v>34.108493605786556</c:v>
                </c:pt>
                <c:pt idx="42">
                  <c:v>34.252333297962302</c:v>
                </c:pt>
                <c:pt idx="43">
                  <c:v>34.493504042011047</c:v>
                </c:pt>
                <c:pt idx="44">
                  <c:v>34.828478516541267</c:v>
                </c:pt>
                <c:pt idx="45">
                  <c:v>35.253183155375083</c:v>
                </c:pt>
                <c:pt idx="46">
                  <c:v>35.763366061376964</c:v>
                </c:pt>
                <c:pt idx="47">
                  <c:v>36.354815174658043</c:v>
                </c:pt>
                <c:pt idx="48">
                  <c:v>37.022468388641293</c:v>
                </c:pt>
                <c:pt idx="49">
                  <c:v>37.759298708294558</c:v>
                </c:pt>
                <c:pt idx="50">
                  <c:v>38.557870809108699</c:v>
                </c:pt>
                <c:pt idx="51">
                  <c:v>39.411546560586558</c:v>
                </c:pt>
                <c:pt idx="52">
                  <c:v>40.314465215024526</c:v>
                </c:pt>
                <c:pt idx="53">
                  <c:v>41.261282418839365</c:v>
                </c:pt>
                <c:pt idx="54">
                  <c:v>42.247013861213489</c:v>
                </c:pt>
                <c:pt idx="55">
                  <c:v>43.26685870428124</c:v>
                </c:pt>
                <c:pt idx="56">
                  <c:v>44.315864835992883</c:v>
                </c:pt>
                <c:pt idx="57">
                  <c:v>45.389128780075445</c:v>
                </c:pt>
                <c:pt idx="58">
                  <c:v>46.481957744935492</c:v>
                </c:pt>
                <c:pt idx="59">
                  <c:v>47.589738618751419</c:v>
                </c:pt>
                <c:pt idx="60">
                  <c:v>48.708014592517102</c:v>
                </c:pt>
                <c:pt idx="61">
                  <c:v>49.832391975963809</c:v>
                </c:pt>
                <c:pt idx="62">
                  <c:v>50.958477269081229</c:v>
                </c:pt>
                <c:pt idx="63">
                  <c:v>52.081792116957999</c:v>
                </c:pt>
                <c:pt idx="64">
                  <c:v>53.197774148810041</c:v>
                </c:pt>
                <c:pt idx="65">
                  <c:v>54.301805392381297</c:v>
                </c:pt>
                <c:pt idx="66">
                  <c:v>55.389195425602075</c:v>
                </c:pt>
                <c:pt idx="67">
                  <c:v>56.45522285043949</c:v>
                </c:pt>
                <c:pt idx="68">
                  <c:v>57.49520100715818</c:v>
                </c:pt>
                <c:pt idx="69">
                  <c:v>58.504479523162253</c:v>
                </c:pt>
                <c:pt idx="70">
                  <c:v>59.478665675016671</c:v>
                </c:pt>
                <c:pt idx="71">
                  <c:v>60.413545003346208</c:v>
                </c:pt>
                <c:pt idx="72">
                  <c:v>61.305076862509303</c:v>
                </c:pt>
                <c:pt idx="73">
                  <c:v>62.149380804096126</c:v>
                </c:pt>
                <c:pt idx="74">
                  <c:v>62.94282187043752</c:v>
                </c:pt>
                <c:pt idx="75">
                  <c:v>63.682018601632315</c:v>
                </c:pt>
                <c:pt idx="76">
                  <c:v>64.363837968438077</c:v>
                </c:pt>
                <c:pt idx="77">
                  <c:v>64.985427027109878</c:v>
                </c:pt>
                <c:pt idx="78">
                  <c:v>65.544226994077832</c:v>
                </c:pt>
                <c:pt idx="79">
                  <c:v>66.037986884067266</c:v>
                </c:pt>
                <c:pt idx="80">
                  <c:v>66.464779667434783</c:v>
                </c:pt>
                <c:pt idx="81">
                  <c:v>66.823014207117865</c:v>
                </c:pt>
                <c:pt idx="82">
                  <c:v>67.11143208201203</c:v>
                </c:pt>
                <c:pt idx="83">
                  <c:v>67.329133740976147</c:v>
                </c:pt>
                <c:pt idx="84">
                  <c:v>67.475580211605148</c:v>
                </c:pt>
                <c:pt idx="85">
                  <c:v>67.55058241093144</c:v>
                </c:pt>
                <c:pt idx="86">
                  <c:v>67.554295676889026</c:v>
                </c:pt>
                <c:pt idx="87">
                  <c:v>67.48721888330725</c:v>
                </c:pt>
                <c:pt idx="88">
                  <c:v>67.350189902133749</c:v>
                </c:pt>
                <c:pt idx="89">
                  <c:v>67.144377507637074</c:v>
                </c:pt>
                <c:pt idx="90">
                  <c:v>66.87126948969987</c:v>
                </c:pt>
                <c:pt idx="91">
                  <c:v>66.532657317512545</c:v>
                </c:pt>
                <c:pt idx="92">
                  <c:v>66.130615631294106</c:v>
                </c:pt>
                <c:pt idx="93">
                  <c:v>65.6674811599054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1.833182681979238</c:v>
                </c:pt>
                <c:pt idx="32">
                  <c:v>40.369452354803883</c:v>
                </c:pt>
                <c:pt idx="33">
                  <c:v>38.932854967807593</c:v>
                </c:pt>
                <c:pt idx="34">
                  <c:v>37.603286684332616</c:v>
                </c:pt>
                <c:pt idx="35">
                  <c:v>36.434699537669012</c:v>
                </c:pt>
                <c:pt idx="36">
                  <c:v>35.494739018467016</c:v>
                </c:pt>
                <c:pt idx="37">
                  <c:v>34.754657861571474</c:v>
                </c:pt>
                <c:pt idx="38">
                  <c:v>34.220422925635077</c:v>
                </c:pt>
                <c:pt idx="39">
                  <c:v>33.894066858220796</c:v>
                </c:pt>
                <c:pt idx="40">
                  <c:v>33.775416781002626</c:v>
                </c:pt>
                <c:pt idx="41">
                  <c:v>33.862088074614555</c:v>
                </c:pt>
                <c:pt idx="42">
                  <c:v>34.149767458966046</c:v>
                </c:pt>
                <c:pt idx="43">
                  <c:v>34.632108947063529</c:v>
                </c:pt>
                <c:pt idx="44">
                  <c:v>35.302057896123962</c:v>
                </c:pt>
                <c:pt idx="45">
                  <c:v>36.151467173791595</c:v>
                </c:pt>
                <c:pt idx="46">
                  <c:v>37.171832985795362</c:v>
                </c:pt>
                <c:pt idx="47">
                  <c:v>38.354731212357521</c:v>
                </c:pt>
                <c:pt idx="48">
                  <c:v>39.690037640324022</c:v>
                </c:pt>
                <c:pt idx="49">
                  <c:v>41.163698279630538</c:v>
                </c:pt>
                <c:pt idx="50">
                  <c:v>42.760842481258834</c:v>
                </c:pt>
                <c:pt idx="51">
                  <c:v>44.468193984214551</c:v>
                </c:pt>
                <c:pt idx="52">
                  <c:v>46.274031293090481</c:v>
                </c:pt>
                <c:pt idx="53">
                  <c:v>48.167665700720157</c:v>
                </c:pt>
                <c:pt idx="54">
                  <c:v>50.139128585468384</c:v>
                </c:pt>
                <c:pt idx="55">
                  <c:v>52.178818271603888</c:v>
                </c:pt>
                <c:pt idx="56">
                  <c:v>54.276830535027187</c:v>
                </c:pt>
                <c:pt idx="57">
                  <c:v>56.423358423192333</c:v>
                </c:pt>
                <c:pt idx="58">
                  <c:v>58.609016352912413</c:v>
                </c:pt>
                <c:pt idx="59">
                  <c:v>60.824578100544251</c:v>
                </c:pt>
                <c:pt idx="60">
                  <c:v>63.061130048075647</c:v>
                </c:pt>
                <c:pt idx="61">
                  <c:v>65.309884814969038</c:v>
                </c:pt>
                <c:pt idx="62">
                  <c:v>67.562055401203892</c:v>
                </c:pt>
                <c:pt idx="63">
                  <c:v>69.808685096957419</c:v>
                </c:pt>
                <c:pt idx="64">
                  <c:v>72.040649160661488</c:v>
                </c:pt>
                <c:pt idx="65">
                  <c:v>74.248711647804015</c:v>
                </c:pt>
                <c:pt idx="66">
                  <c:v>76.423491714245571</c:v>
                </c:pt>
                <c:pt idx="67">
                  <c:v>78.555546563920402</c:v>
                </c:pt>
                <c:pt idx="68">
                  <c:v>80.635502877357766</c:v>
                </c:pt>
                <c:pt idx="69">
                  <c:v>82.654059909365927</c:v>
                </c:pt>
                <c:pt idx="70">
                  <c:v>84.602432213074735</c:v>
                </c:pt>
                <c:pt idx="71">
                  <c:v>86.472190869733851</c:v>
                </c:pt>
                <c:pt idx="72">
                  <c:v>88.255254588060055</c:v>
                </c:pt>
                <c:pt idx="73">
                  <c:v>89.943862471233672</c:v>
                </c:pt>
                <c:pt idx="74">
                  <c:v>91.530744603916489</c:v>
                </c:pt>
                <c:pt idx="75">
                  <c:v>93.009138066306051</c:v>
                </c:pt>
                <c:pt idx="76">
                  <c:v>94.372776799917602</c:v>
                </c:pt>
                <c:pt idx="77">
                  <c:v>95.615954917261135</c:v>
                </c:pt>
                <c:pt idx="78">
                  <c:v>96.733554851197084</c:v>
                </c:pt>
                <c:pt idx="79">
                  <c:v>97.72107463117591</c:v>
                </c:pt>
                <c:pt idx="80">
                  <c:v>98.574660197911001</c:v>
                </c:pt>
                <c:pt idx="81">
                  <c:v>99.29112927727715</c:v>
                </c:pt>
                <c:pt idx="82">
                  <c:v>99.867965027065509</c:v>
                </c:pt>
                <c:pt idx="83">
                  <c:v>100.30336834499373</c:v>
                </c:pt>
                <c:pt idx="84">
                  <c:v>100.59626128625169</c:v>
                </c:pt>
                <c:pt idx="85">
                  <c:v>100.74626568490432</c:v>
                </c:pt>
                <c:pt idx="86">
                  <c:v>100.75369221681946</c:v>
                </c:pt>
                <c:pt idx="87">
                  <c:v>100.61953862965591</c:v>
                </c:pt>
                <c:pt idx="88">
                  <c:v>100.34548066730892</c:v>
                </c:pt>
                <c:pt idx="89">
                  <c:v>99.933855878315569</c:v>
                </c:pt>
                <c:pt idx="90">
                  <c:v>99.387639842441203</c:v>
                </c:pt>
                <c:pt idx="91">
                  <c:v>98.710415498066496</c:v>
                </c:pt>
                <c:pt idx="92">
                  <c:v>97.906332125629618</c:v>
                </c:pt>
                <c:pt idx="93">
                  <c:v>96.980063182852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48</c:v>
                </c:pt>
                <c:pt idx="1">
                  <c:v>52</c:v>
                </c:pt>
                <c:pt idx="2">
                  <c:v>55</c:v>
                </c:pt>
                <c:pt idx="3">
                  <c:v>54</c:v>
                </c:pt>
                <c:pt idx="4">
                  <c:v>54</c:v>
                </c:pt>
                <c:pt idx="5">
                  <c:v>52</c:v>
                </c:pt>
                <c:pt idx="6">
                  <c:v>52</c:v>
                </c:pt>
                <c:pt idx="7">
                  <c:v>50</c:v>
                </c:pt>
                <c:pt idx="8">
                  <c:v>47</c:v>
                </c:pt>
                <c:pt idx="9">
                  <c:v>49</c:v>
                </c:pt>
                <c:pt idx="10">
                  <c:v>51</c:v>
                </c:pt>
                <c:pt idx="11">
                  <c:v>56</c:v>
                </c:pt>
                <c:pt idx="12">
                  <c:v>52</c:v>
                </c:pt>
                <c:pt idx="13">
                  <c:v>48</c:v>
                </c:pt>
                <c:pt idx="14">
                  <c:v>48</c:v>
                </c:pt>
                <c:pt idx="15">
                  <c:v>43</c:v>
                </c:pt>
                <c:pt idx="16">
                  <c:v>39</c:v>
                </c:pt>
                <c:pt idx="17">
                  <c:v>37</c:v>
                </c:pt>
                <c:pt idx="18">
                  <c:v>34</c:v>
                </c:pt>
                <c:pt idx="19">
                  <c:v>35</c:v>
                </c:pt>
                <c:pt idx="20">
                  <c:v>37</c:v>
                </c:pt>
                <c:pt idx="21">
                  <c:v>31</c:v>
                </c:pt>
                <c:pt idx="22">
                  <c:v>29</c:v>
                </c:pt>
                <c:pt idx="23">
                  <c:v>28</c:v>
                </c:pt>
                <c:pt idx="24">
                  <c:v>29</c:v>
                </c:pt>
                <c:pt idx="25">
                  <c:v>31</c:v>
                </c:pt>
                <c:pt idx="26">
                  <c:v>28</c:v>
                </c:pt>
                <c:pt idx="27">
                  <c:v>25</c:v>
                </c:pt>
                <c:pt idx="28">
                  <c:v>31</c:v>
                </c:pt>
                <c:pt idx="29">
                  <c:v>30</c:v>
                </c:pt>
                <c:pt idx="30">
                  <c:v>31</c:v>
                </c:pt>
                <c:pt idx="31">
                  <c:v>34</c:v>
                </c:pt>
                <c:pt idx="32">
                  <c:v>32</c:v>
                </c:pt>
                <c:pt idx="33">
                  <c:v>31</c:v>
                </c:pt>
                <c:pt idx="34">
                  <c:v>28</c:v>
                </c:pt>
                <c:pt idx="35">
                  <c:v>32</c:v>
                </c:pt>
                <c:pt idx="36">
                  <c:v>37</c:v>
                </c:pt>
                <c:pt idx="37">
                  <c:v>33</c:v>
                </c:pt>
                <c:pt idx="38">
                  <c:v>28</c:v>
                </c:pt>
                <c:pt idx="39">
                  <c:v>24</c:v>
                </c:pt>
                <c:pt idx="40">
                  <c:v>23</c:v>
                </c:pt>
                <c:pt idx="41">
                  <c:v>21</c:v>
                </c:pt>
                <c:pt idx="42">
                  <c:v>24</c:v>
                </c:pt>
                <c:pt idx="43">
                  <c:v>26</c:v>
                </c:pt>
                <c:pt idx="44">
                  <c:v>30</c:v>
                </c:pt>
                <c:pt idx="45">
                  <c:v>28</c:v>
                </c:pt>
                <c:pt idx="46">
                  <c:v>26</c:v>
                </c:pt>
                <c:pt idx="47">
                  <c:v>24</c:v>
                </c:pt>
                <c:pt idx="48">
                  <c:v>24</c:v>
                </c:pt>
                <c:pt idx="49">
                  <c:v>25</c:v>
                </c:pt>
                <c:pt idx="50">
                  <c:v>22</c:v>
                </c:pt>
                <c:pt idx="51">
                  <c:v>20</c:v>
                </c:pt>
                <c:pt idx="52">
                  <c:v>21</c:v>
                </c:pt>
                <c:pt idx="53">
                  <c:v>16</c:v>
                </c:pt>
                <c:pt idx="54">
                  <c:v>15</c:v>
                </c:pt>
                <c:pt idx="55">
                  <c:v>13</c:v>
                </c:pt>
                <c:pt idx="56">
                  <c:v>10</c:v>
                </c:pt>
                <c:pt idx="57">
                  <c:v>9</c:v>
                </c:pt>
                <c:pt idx="58">
                  <c:v>12</c:v>
                </c:pt>
                <c:pt idx="59">
                  <c:v>11</c:v>
                </c:pt>
                <c:pt idx="60">
                  <c:v>14</c:v>
                </c:pt>
                <c:pt idx="61">
                  <c:v>17</c:v>
                </c:pt>
                <c:pt idx="62">
                  <c:v>19</c:v>
                </c:pt>
                <c:pt idx="63">
                  <c:v>22</c:v>
                </c:pt>
                <c:pt idx="64">
                  <c:v>18</c:v>
                </c:pt>
                <c:pt idx="65">
                  <c:v>19</c:v>
                </c:pt>
                <c:pt idx="66">
                  <c:v>18</c:v>
                </c:pt>
                <c:pt idx="67">
                  <c:v>19</c:v>
                </c:pt>
                <c:pt idx="68">
                  <c:v>16</c:v>
                </c:pt>
                <c:pt idx="69">
                  <c:v>15</c:v>
                </c:pt>
                <c:pt idx="70">
                  <c:v>17</c:v>
                </c:pt>
                <c:pt idx="71">
                  <c:v>15</c:v>
                </c:pt>
                <c:pt idx="72">
                  <c:v>13</c:v>
                </c:pt>
                <c:pt idx="73">
                  <c:v>14</c:v>
                </c:pt>
                <c:pt idx="74">
                  <c:v>14</c:v>
                </c:pt>
                <c:pt idx="75">
                  <c:v>19</c:v>
                </c:pt>
                <c:pt idx="76">
                  <c:v>23</c:v>
                </c:pt>
                <c:pt idx="77">
                  <c:v>18</c:v>
                </c:pt>
                <c:pt idx="78">
                  <c:v>17</c:v>
                </c:pt>
                <c:pt idx="79">
                  <c:v>17</c:v>
                </c:pt>
                <c:pt idx="80">
                  <c:v>18</c:v>
                </c:pt>
                <c:pt idx="81">
                  <c:v>17</c:v>
                </c:pt>
                <c:pt idx="82">
                  <c:v>17</c:v>
                </c:pt>
                <c:pt idx="83">
                  <c:v>14</c:v>
                </c:pt>
                <c:pt idx="84">
                  <c:v>10</c:v>
                </c:pt>
                <c:pt idx="85">
                  <c:v>10</c:v>
                </c:pt>
                <c:pt idx="86">
                  <c:v>9</c:v>
                </c:pt>
                <c:pt idx="87">
                  <c:v>10</c:v>
                </c:pt>
                <c:pt idx="88">
                  <c:v>13</c:v>
                </c:pt>
                <c:pt idx="89">
                  <c:v>15</c:v>
                </c:pt>
                <c:pt idx="90">
                  <c:v>14</c:v>
                </c:pt>
                <c:pt idx="91">
                  <c:v>16</c:v>
                </c:pt>
                <c:pt idx="92">
                  <c:v>14</c:v>
                </c:pt>
                <c:pt idx="93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7.652442789782882</c:v>
                </c:pt>
                <c:pt idx="32">
                  <c:v>26.684892234531375</c:v>
                </c:pt>
                <c:pt idx="33">
                  <c:v>25.735277012618571</c:v>
                </c:pt>
                <c:pt idx="34">
                  <c:v>24.804399052751847</c:v>
                </c:pt>
                <c:pt idx="35">
                  <c:v>23.892941381825029</c:v>
                </c:pt>
                <c:pt idx="36">
                  <c:v>23.027417435104102</c:v>
                </c:pt>
                <c:pt idx="37">
                  <c:v>22.180477682830553</c:v>
                </c:pt>
                <c:pt idx="38">
                  <c:v>21.352591557730882</c:v>
                </c:pt>
                <c:pt idx="39">
                  <c:v>20.54414889462651</c:v>
                </c:pt>
                <c:pt idx="40">
                  <c:v>19.755487310496996</c:v>
                </c:pt>
                <c:pt idx="41">
                  <c:v>19.002116414634774</c:v>
                </c:pt>
                <c:pt idx="42">
                  <c:v>18.2945303905556</c:v>
                </c:pt>
                <c:pt idx="43">
                  <c:v>17.637697566299281</c:v>
                </c:pt>
                <c:pt idx="44">
                  <c:v>17.033214030223697</c:v>
                </c:pt>
                <c:pt idx="45">
                  <c:v>16.480808260997662</c:v>
                </c:pt>
                <c:pt idx="46">
                  <c:v>15.979186234217943</c:v>
                </c:pt>
                <c:pt idx="47">
                  <c:v>15.526476229715202</c:v>
                </c:pt>
                <c:pt idx="48">
                  <c:v>15.120310632833069</c:v>
                </c:pt>
                <c:pt idx="49">
                  <c:v>14.757933306188837</c:v>
                </c:pt>
                <c:pt idx="50">
                  <c:v>14.436216378197125</c:v>
                </c:pt>
                <c:pt idx="51">
                  <c:v>14.151955721291948</c:v>
                </c:pt>
                <c:pt idx="52">
                  <c:v>13.901832614902139</c:v>
                </c:pt>
                <c:pt idx="53">
                  <c:v>13.682579714744973</c:v>
                </c:pt>
                <c:pt idx="54">
                  <c:v>13.491085551814116</c:v>
                </c:pt>
                <c:pt idx="55">
                  <c:v>13.324064866668611</c:v>
                </c:pt>
                <c:pt idx="56">
                  <c:v>13.177642873006851</c:v>
                </c:pt>
                <c:pt idx="57">
                  <c:v>13.047970434327501</c:v>
                </c:pt>
                <c:pt idx="58">
                  <c:v>12.931715543860863</c:v>
                </c:pt>
                <c:pt idx="59">
                  <c:v>12.82607471280155</c:v>
                </c:pt>
                <c:pt idx="60">
                  <c:v>12.728672664231468</c:v>
                </c:pt>
                <c:pt idx="61">
                  <c:v>12.637492416436251</c:v>
                </c:pt>
                <c:pt idx="62">
                  <c:v>12.550795163457384</c:v>
                </c:pt>
                <c:pt idx="63">
                  <c:v>12.466978965467158</c:v>
                </c:pt>
                <c:pt idx="64">
                  <c:v>12.384646635672761</c:v>
                </c:pt>
                <c:pt idx="65">
                  <c:v>12.302660470053285</c:v>
                </c:pt>
                <c:pt idx="66">
                  <c:v>12.220084745496365</c:v>
                </c:pt>
                <c:pt idx="67">
                  <c:v>12.136203083075456</c:v>
                </c:pt>
                <c:pt idx="68">
                  <c:v>12.050470087630494</c:v>
                </c:pt>
                <c:pt idx="69">
                  <c:v>11.962473716370244</c:v>
                </c:pt>
                <c:pt idx="70">
                  <c:v>11.871932583375923</c:v>
                </c:pt>
                <c:pt idx="71">
                  <c:v>11.778669919933526</c:v>
                </c:pt>
                <c:pt idx="72">
                  <c:v>11.682593879247131</c:v>
                </c:pt>
                <c:pt idx="73">
                  <c:v>11.583669112534434</c:v>
                </c:pt>
                <c:pt idx="74">
                  <c:v>11.481913470035986</c:v>
                </c:pt>
                <c:pt idx="75">
                  <c:v>11.377404966503567</c:v>
                </c:pt>
                <c:pt idx="76">
                  <c:v>11.270264486581338</c:v>
                </c:pt>
                <c:pt idx="77">
                  <c:v>11.160635104315361</c:v>
                </c:pt>
                <c:pt idx="78">
                  <c:v>11.048656698690511</c:v>
                </c:pt>
                <c:pt idx="79">
                  <c:v>10.934471402604361</c:v>
                </c:pt>
                <c:pt idx="80">
                  <c:v>10.81821667131571</c:v>
                </c:pt>
                <c:pt idx="81">
                  <c:v>10.700049635854498</c:v>
                </c:pt>
                <c:pt idx="82">
                  <c:v>10.580139989741124</c:v>
                </c:pt>
                <c:pt idx="83">
                  <c:v>10.458656475824615</c:v>
                </c:pt>
                <c:pt idx="84">
                  <c:v>10.335768493006107</c:v>
                </c:pt>
                <c:pt idx="85">
                  <c:v>10.211640759542409</c:v>
                </c:pt>
                <c:pt idx="86">
                  <c:v>10.08643100298503</c:v>
                </c:pt>
                <c:pt idx="87">
                  <c:v>9.9602897913058275</c:v>
                </c:pt>
                <c:pt idx="88">
                  <c:v>9.8333604974545175</c:v>
                </c:pt>
                <c:pt idx="89">
                  <c:v>9.7057735080525838</c:v>
                </c:pt>
                <c:pt idx="90">
                  <c:v>9.57765324926247</c:v>
                </c:pt>
                <c:pt idx="91">
                  <c:v>9.4491187635450054</c:v>
                </c:pt>
                <c:pt idx="92">
                  <c:v>9.3202827536524211</c:v>
                </c:pt>
                <c:pt idx="93">
                  <c:v>9.19125113221287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7.652442789782882</c:v>
                </c:pt>
                <c:pt idx="32">
                  <c:v>26.684892234531375</c:v>
                </c:pt>
                <c:pt idx="33">
                  <c:v>25.735277012618571</c:v>
                </c:pt>
                <c:pt idx="34">
                  <c:v>24.856409842185961</c:v>
                </c:pt>
                <c:pt idx="35">
                  <c:v>24.08395393167951</c:v>
                </c:pt>
                <c:pt idx="36">
                  <c:v>23.462624096952769</c:v>
                </c:pt>
                <c:pt idx="37">
                  <c:v>22.841294262226025</c:v>
                </c:pt>
                <c:pt idx="38">
                  <c:v>22.664725088484339</c:v>
                </c:pt>
                <c:pt idx="39">
                  <c:v>22.556861642474537</c:v>
                </c:pt>
                <c:pt idx="40">
                  <c:v>22.517646786444796</c:v>
                </c:pt>
                <c:pt idx="41">
                  <c:v>22.546292383486026</c:v>
                </c:pt>
                <c:pt idx="42">
                  <c:v>22.641372857975078</c:v>
                </c:pt>
                <c:pt idx="43">
                  <c:v>22.800790807431028</c:v>
                </c:pt>
                <c:pt idx="44">
                  <c:v>23.022214612628968</c:v>
                </c:pt>
                <c:pt idx="45">
                  <c:v>23.302951577281835</c:v>
                </c:pt>
                <c:pt idx="46">
                  <c:v>23.640191125316974</c:v>
                </c:pt>
                <c:pt idx="47">
                  <c:v>24.031149013757009</c:v>
                </c:pt>
                <c:pt idx="48">
                  <c:v>24.472479104356108</c:v>
                </c:pt>
                <c:pt idx="49">
                  <c:v>24.959536434296396</c:v>
                </c:pt>
                <c:pt idx="50">
                  <c:v>25.487406128054896</c:v>
                </c:pt>
                <c:pt idx="51">
                  <c:v>26.051700268862298</c:v>
                </c:pt>
                <c:pt idx="52">
                  <c:v>26.648544803151804</c:v>
                </c:pt>
                <c:pt idx="53">
                  <c:v>27.274407022622626</c:v>
                </c:pt>
                <c:pt idx="54">
                  <c:v>27.925992213344504</c:v>
                </c:pt>
                <c:pt idx="55">
                  <c:v>28.600126940118102</c:v>
                </c:pt>
                <c:pt idx="56">
                  <c:v>29.293537772944443</c:v>
                </c:pt>
                <c:pt idx="57">
                  <c:v>30.002983430897324</c:v>
                </c:pt>
                <c:pt idx="58">
                  <c:v>30.725361899194642</c:v>
                </c:pt>
                <c:pt idx="59">
                  <c:v>31.457623832733983</c:v>
                </c:pt>
                <c:pt idx="60">
                  <c:v>32.196823205223161</c:v>
                </c:pt>
                <c:pt idx="61">
                  <c:v>32.940055712925222</c:v>
                </c:pt>
                <c:pt idx="62">
                  <c:v>33.684417177867246</c:v>
                </c:pt>
                <c:pt idx="63">
                  <c:v>34.426947331548504</c:v>
                </c:pt>
                <c:pt idx="64">
                  <c:v>35.164630369552391</c:v>
                </c:pt>
                <c:pt idx="65">
                  <c:v>35.894413733946955</c:v>
                </c:pt>
                <c:pt idx="66">
                  <c:v>36.613196976245433</c:v>
                </c:pt>
                <c:pt idx="67">
                  <c:v>37.317859172324404</c:v>
                </c:pt>
                <c:pt idx="68">
                  <c:v>38.005302360663876</c:v>
                </c:pt>
                <c:pt idx="69">
                  <c:v>38.672452566158093</c:v>
                </c:pt>
                <c:pt idx="70">
                  <c:v>39.316406124163557</c:v>
                </c:pt>
                <c:pt idx="71">
                  <c:v>39.934377205601727</c:v>
                </c:pt>
                <c:pt idx="72">
                  <c:v>40.523694875218013</c:v>
                </c:pt>
                <c:pt idx="73">
                  <c:v>41.081794090843196</c:v>
                </c:pt>
                <c:pt idx="74">
                  <c:v>41.606272083848523</c:v>
                </c:pt>
                <c:pt idx="75">
                  <c:v>42.094893651926441</c:v>
                </c:pt>
                <c:pt idx="76">
                  <c:v>42.545587809645504</c:v>
                </c:pt>
                <c:pt idx="77">
                  <c:v>42.956468712835331</c:v>
                </c:pt>
                <c:pt idx="78">
                  <c:v>43.325844962187034</c:v>
                </c:pt>
                <c:pt idx="79">
                  <c:v>43.65222861828174</c:v>
                </c:pt>
                <c:pt idx="80">
                  <c:v>43.934345881863663</c:v>
                </c:pt>
                <c:pt idx="81">
                  <c:v>44.171144984366038</c:v>
                </c:pt>
                <c:pt idx="82">
                  <c:v>44.36179408810964</c:v>
                </c:pt>
                <c:pt idx="83">
                  <c:v>44.505698574543551</c:v>
                </c:pt>
                <c:pt idx="84">
                  <c:v>44.602502173772884</c:v>
                </c:pt>
                <c:pt idx="85">
                  <c:v>44.652079898751289</c:v>
                </c:pt>
                <c:pt idx="86">
                  <c:v>44.65453443048596</c:v>
                </c:pt>
                <c:pt idx="87">
                  <c:v>44.610195533033597</c:v>
                </c:pt>
                <c:pt idx="88">
                  <c:v>44.519617053952814</c:v>
                </c:pt>
                <c:pt idx="89">
                  <c:v>44.383571572844843</c:v>
                </c:pt>
                <c:pt idx="90">
                  <c:v>44.203042544038894</c:v>
                </c:pt>
                <c:pt idx="91">
                  <c:v>43.97921415903371</c:v>
                </c:pt>
                <c:pt idx="92">
                  <c:v>43.713457790177458</c:v>
                </c:pt>
                <c:pt idx="93">
                  <c:v>43.407318054852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7.652442789782882</c:v>
                </c:pt>
                <c:pt idx="32">
                  <c:v>26.684892234531375</c:v>
                </c:pt>
                <c:pt idx="33">
                  <c:v>25.735277012618571</c:v>
                </c:pt>
                <c:pt idx="34">
                  <c:v>24.856409842185961</c:v>
                </c:pt>
                <c:pt idx="35">
                  <c:v>24.08395393167951</c:v>
                </c:pt>
                <c:pt idx="36">
                  <c:v>23.462624096952769</c:v>
                </c:pt>
                <c:pt idx="37">
                  <c:v>22.973417908496394</c:v>
                </c:pt>
                <c:pt idx="38">
                  <c:v>22.620279561013014</c:v>
                </c:pt>
                <c:pt idx="39">
                  <c:v>22.404552668993404</c:v>
                </c:pt>
                <c:pt idx="40">
                  <c:v>22.326122956933936</c:v>
                </c:pt>
                <c:pt idx="41">
                  <c:v>22.383414151016396</c:v>
                </c:pt>
                <c:pt idx="42">
                  <c:v>22.5735750999945</c:v>
                </c:pt>
                <c:pt idx="43">
                  <c:v>22.892410998906396</c:v>
                </c:pt>
                <c:pt idx="44">
                  <c:v>23.335258609302276</c:v>
                </c:pt>
                <c:pt idx="45">
                  <c:v>23.896732538607999</c:v>
                </c:pt>
                <c:pt idx="46">
                  <c:v>24.571211634678289</c:v>
                </c:pt>
                <c:pt idx="47">
                  <c:v>25.353127411558358</c:v>
                </c:pt>
                <c:pt idx="48">
                  <c:v>26.235787592756555</c:v>
                </c:pt>
                <c:pt idx="49">
                  <c:v>27.209902252637132</c:v>
                </c:pt>
                <c:pt idx="50">
                  <c:v>28.26564164015414</c:v>
                </c:pt>
                <c:pt idx="51">
                  <c:v>29.394229921768936</c:v>
                </c:pt>
                <c:pt idx="52">
                  <c:v>30.587918990347937</c:v>
                </c:pt>
                <c:pt idx="53">
                  <c:v>31.839643429289591</c:v>
                </c:pt>
                <c:pt idx="54">
                  <c:v>33.142813810733337</c:v>
                </c:pt>
                <c:pt idx="55">
                  <c:v>34.491083264280526</c:v>
                </c:pt>
                <c:pt idx="56">
                  <c:v>35.877904929933223</c:v>
                </c:pt>
                <c:pt idx="57">
                  <c:v>37.296796245838991</c:v>
                </c:pt>
                <c:pt idx="58">
                  <c:v>38.74155318243362</c:v>
                </c:pt>
                <c:pt idx="59">
                  <c:v>40.206077049512295</c:v>
                </c:pt>
                <c:pt idx="60">
                  <c:v>41.684475794490673</c:v>
                </c:pt>
                <c:pt idx="61">
                  <c:v>43.170940809894788</c:v>
                </c:pt>
                <c:pt idx="62">
                  <c:v>44.659663739778843</c:v>
                </c:pt>
                <c:pt idx="63">
                  <c:v>46.144724047141338</c:v>
                </c:pt>
                <c:pt idx="64">
                  <c:v>47.620090123149112</c:v>
                </c:pt>
                <c:pt idx="65">
                  <c:v>49.079656851938239</c:v>
                </c:pt>
                <c:pt idx="66">
                  <c:v>50.517223336535196</c:v>
                </c:pt>
                <c:pt idx="67">
                  <c:v>51.926547728693137</c:v>
                </c:pt>
                <c:pt idx="68">
                  <c:v>53.301434105372074</c:v>
                </c:pt>
                <c:pt idx="69">
                  <c:v>54.635734516360522</c:v>
                </c:pt>
                <c:pt idx="70">
                  <c:v>55.923641632371428</c:v>
                </c:pt>
                <c:pt idx="71">
                  <c:v>57.159583795247784</c:v>
                </c:pt>
                <c:pt idx="72">
                  <c:v>58.338219134480369</c:v>
                </c:pt>
                <c:pt idx="73">
                  <c:v>59.454417565730722</c:v>
                </c:pt>
                <c:pt idx="74">
                  <c:v>60.503373551741397</c:v>
                </c:pt>
                <c:pt idx="75">
                  <c:v>61.480616687897211</c:v>
                </c:pt>
                <c:pt idx="76">
                  <c:v>62.382005003335351</c:v>
                </c:pt>
                <c:pt idx="77">
                  <c:v>63.203766809714978</c:v>
                </c:pt>
                <c:pt idx="78">
                  <c:v>63.942519308418397</c:v>
                </c:pt>
                <c:pt idx="79">
                  <c:v>64.595286620607794</c:v>
                </c:pt>
                <c:pt idx="80">
                  <c:v>65.15952114777167</c:v>
                </c:pt>
                <c:pt idx="81">
                  <c:v>65.633119352776404</c:v>
                </c:pt>
                <c:pt idx="82">
                  <c:v>66.014417560263624</c:v>
                </c:pt>
                <c:pt idx="83">
                  <c:v>66.302226533131446</c:v>
                </c:pt>
                <c:pt idx="84">
                  <c:v>66.495833731590082</c:v>
                </c:pt>
                <c:pt idx="85">
                  <c:v>66.594989181546921</c:v>
                </c:pt>
                <c:pt idx="86">
                  <c:v>66.599898245016234</c:v>
                </c:pt>
                <c:pt idx="87">
                  <c:v>66.511220450111523</c:v>
                </c:pt>
                <c:pt idx="88">
                  <c:v>66.330063491949957</c:v>
                </c:pt>
                <c:pt idx="89">
                  <c:v>66.057972529734016</c:v>
                </c:pt>
                <c:pt idx="90">
                  <c:v>65.696914472122131</c:v>
                </c:pt>
                <c:pt idx="91">
                  <c:v>65.249257702111748</c:v>
                </c:pt>
                <c:pt idx="92">
                  <c:v>64.71774496439923</c:v>
                </c:pt>
                <c:pt idx="93">
                  <c:v>64.105465493749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52</c:v>
                </c:pt>
                <c:pt idx="1">
                  <c:v>45</c:v>
                </c:pt>
                <c:pt idx="2">
                  <c:v>40</c:v>
                </c:pt>
                <c:pt idx="3">
                  <c:v>38</c:v>
                </c:pt>
                <c:pt idx="4">
                  <c:v>44</c:v>
                </c:pt>
                <c:pt idx="5">
                  <c:v>50</c:v>
                </c:pt>
                <c:pt idx="6">
                  <c:v>49</c:v>
                </c:pt>
                <c:pt idx="7">
                  <c:v>50</c:v>
                </c:pt>
                <c:pt idx="8">
                  <c:v>56</c:v>
                </c:pt>
                <c:pt idx="9">
                  <c:v>55</c:v>
                </c:pt>
                <c:pt idx="10">
                  <c:v>55</c:v>
                </c:pt>
                <c:pt idx="11">
                  <c:v>58</c:v>
                </c:pt>
                <c:pt idx="12">
                  <c:v>59</c:v>
                </c:pt>
                <c:pt idx="13">
                  <c:v>56</c:v>
                </c:pt>
                <c:pt idx="14">
                  <c:v>52</c:v>
                </c:pt>
                <c:pt idx="15">
                  <c:v>45</c:v>
                </c:pt>
                <c:pt idx="16">
                  <c:v>48</c:v>
                </c:pt>
                <c:pt idx="17">
                  <c:v>42</c:v>
                </c:pt>
                <c:pt idx="18">
                  <c:v>39</c:v>
                </c:pt>
                <c:pt idx="19">
                  <c:v>41</c:v>
                </c:pt>
                <c:pt idx="20">
                  <c:v>36</c:v>
                </c:pt>
                <c:pt idx="21">
                  <c:v>40</c:v>
                </c:pt>
                <c:pt idx="22">
                  <c:v>38</c:v>
                </c:pt>
                <c:pt idx="23">
                  <c:v>33</c:v>
                </c:pt>
                <c:pt idx="24">
                  <c:v>32</c:v>
                </c:pt>
                <c:pt idx="25">
                  <c:v>37</c:v>
                </c:pt>
                <c:pt idx="26">
                  <c:v>34</c:v>
                </c:pt>
                <c:pt idx="27">
                  <c:v>29</c:v>
                </c:pt>
                <c:pt idx="28">
                  <c:v>29</c:v>
                </c:pt>
                <c:pt idx="29">
                  <c:v>29</c:v>
                </c:pt>
                <c:pt idx="30">
                  <c:v>26</c:v>
                </c:pt>
                <c:pt idx="31">
                  <c:v>25</c:v>
                </c:pt>
                <c:pt idx="32">
                  <c:v>23</c:v>
                </c:pt>
                <c:pt idx="33">
                  <c:v>23</c:v>
                </c:pt>
                <c:pt idx="34">
                  <c:v>29</c:v>
                </c:pt>
                <c:pt idx="35">
                  <c:v>29</c:v>
                </c:pt>
                <c:pt idx="36">
                  <c:v>30</c:v>
                </c:pt>
                <c:pt idx="37">
                  <c:v>28</c:v>
                </c:pt>
                <c:pt idx="38">
                  <c:v>31</c:v>
                </c:pt>
                <c:pt idx="39">
                  <c:v>26</c:v>
                </c:pt>
                <c:pt idx="40">
                  <c:v>27</c:v>
                </c:pt>
                <c:pt idx="41">
                  <c:v>31</c:v>
                </c:pt>
                <c:pt idx="42">
                  <c:v>31</c:v>
                </c:pt>
                <c:pt idx="43">
                  <c:v>29</c:v>
                </c:pt>
                <c:pt idx="44">
                  <c:v>24</c:v>
                </c:pt>
                <c:pt idx="45">
                  <c:v>22</c:v>
                </c:pt>
                <c:pt idx="46">
                  <c:v>21</c:v>
                </c:pt>
                <c:pt idx="47">
                  <c:v>21</c:v>
                </c:pt>
                <c:pt idx="48">
                  <c:v>21</c:v>
                </c:pt>
                <c:pt idx="49">
                  <c:v>21</c:v>
                </c:pt>
                <c:pt idx="50">
                  <c:v>20</c:v>
                </c:pt>
                <c:pt idx="51">
                  <c:v>17</c:v>
                </c:pt>
                <c:pt idx="52">
                  <c:v>16</c:v>
                </c:pt>
                <c:pt idx="53">
                  <c:v>15</c:v>
                </c:pt>
                <c:pt idx="54">
                  <c:v>16</c:v>
                </c:pt>
                <c:pt idx="55">
                  <c:v>14</c:v>
                </c:pt>
                <c:pt idx="56">
                  <c:v>12</c:v>
                </c:pt>
                <c:pt idx="57">
                  <c:v>13</c:v>
                </c:pt>
                <c:pt idx="58">
                  <c:v>20</c:v>
                </c:pt>
                <c:pt idx="59">
                  <c:v>23</c:v>
                </c:pt>
                <c:pt idx="60">
                  <c:v>25</c:v>
                </c:pt>
                <c:pt idx="61">
                  <c:v>26</c:v>
                </c:pt>
                <c:pt idx="62">
                  <c:v>25</c:v>
                </c:pt>
                <c:pt idx="63">
                  <c:v>31</c:v>
                </c:pt>
                <c:pt idx="64">
                  <c:v>29</c:v>
                </c:pt>
                <c:pt idx="65">
                  <c:v>27</c:v>
                </c:pt>
                <c:pt idx="66">
                  <c:v>28</c:v>
                </c:pt>
                <c:pt idx="67">
                  <c:v>30</c:v>
                </c:pt>
                <c:pt idx="68">
                  <c:v>34</c:v>
                </c:pt>
                <c:pt idx="69">
                  <c:v>32</c:v>
                </c:pt>
                <c:pt idx="70">
                  <c:v>32</c:v>
                </c:pt>
                <c:pt idx="71">
                  <c:v>34</c:v>
                </c:pt>
                <c:pt idx="72">
                  <c:v>36</c:v>
                </c:pt>
                <c:pt idx="73">
                  <c:v>31</c:v>
                </c:pt>
                <c:pt idx="74">
                  <c:v>33</c:v>
                </c:pt>
                <c:pt idx="75">
                  <c:v>36</c:v>
                </c:pt>
                <c:pt idx="76">
                  <c:v>40</c:v>
                </c:pt>
                <c:pt idx="77">
                  <c:v>38</c:v>
                </c:pt>
                <c:pt idx="78">
                  <c:v>38</c:v>
                </c:pt>
                <c:pt idx="79">
                  <c:v>30</c:v>
                </c:pt>
                <c:pt idx="80">
                  <c:v>27</c:v>
                </c:pt>
                <c:pt idx="81">
                  <c:v>27</c:v>
                </c:pt>
                <c:pt idx="82">
                  <c:v>26</c:v>
                </c:pt>
                <c:pt idx="83">
                  <c:v>22</c:v>
                </c:pt>
                <c:pt idx="84">
                  <c:v>25</c:v>
                </c:pt>
                <c:pt idx="85">
                  <c:v>29</c:v>
                </c:pt>
                <c:pt idx="86">
                  <c:v>23</c:v>
                </c:pt>
                <c:pt idx="87">
                  <c:v>20</c:v>
                </c:pt>
                <c:pt idx="88">
                  <c:v>22</c:v>
                </c:pt>
                <c:pt idx="89">
                  <c:v>24</c:v>
                </c:pt>
                <c:pt idx="90">
                  <c:v>27</c:v>
                </c:pt>
                <c:pt idx="91">
                  <c:v>24</c:v>
                </c:pt>
                <c:pt idx="92">
                  <c:v>21</c:v>
                </c:pt>
                <c:pt idx="9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2.68918382751416</c:v>
                </c:pt>
                <c:pt idx="32">
                  <c:v>21.895296192436003</c:v>
                </c:pt>
                <c:pt idx="33">
                  <c:v>21.11612472830242</c:v>
                </c:pt>
                <c:pt idx="34">
                  <c:v>20.352327427898953</c:v>
                </c:pt>
                <c:pt idx="35">
                  <c:v>19.604464723548741</c:v>
                </c:pt>
                <c:pt idx="36">
                  <c:v>18.894291228803368</c:v>
                </c:pt>
                <c:pt idx="37">
                  <c:v>18.19936630386097</c:v>
                </c:pt>
                <c:pt idx="38">
                  <c:v>17.52007512429201</c:v>
                </c:pt>
                <c:pt idx="39">
                  <c:v>16.856737554565342</c:v>
                </c:pt>
                <c:pt idx="40">
                  <c:v>16.209630613741126</c:v>
                </c:pt>
                <c:pt idx="41">
                  <c:v>15.591480135084945</c:v>
                </c:pt>
                <c:pt idx="42">
                  <c:v>15.010896730712288</c:v>
                </c:pt>
                <c:pt idx="43">
                  <c:v>14.471956977476333</c:v>
                </c:pt>
                <c:pt idx="44">
                  <c:v>13.975970486337394</c:v>
                </c:pt>
                <c:pt idx="45">
                  <c:v>13.522714470562185</c:v>
                </c:pt>
                <c:pt idx="46">
                  <c:v>13.1111271665378</c:v>
                </c:pt>
                <c:pt idx="47">
                  <c:v>12.739672803868885</c:v>
                </c:pt>
                <c:pt idx="48">
                  <c:v>12.406408724375853</c:v>
                </c:pt>
                <c:pt idx="49">
                  <c:v>12.109073482001099</c:v>
                </c:pt>
                <c:pt idx="50">
                  <c:v>11.845100618007898</c:v>
                </c:pt>
                <c:pt idx="51">
                  <c:v>11.611861104649805</c:v>
                </c:pt>
                <c:pt idx="52">
                  <c:v>11.406631889150475</c:v>
                </c:pt>
                <c:pt idx="53">
                  <c:v>11.226732073636901</c:v>
                </c:pt>
                <c:pt idx="54">
                  <c:v>11.069608657898764</c:v>
                </c:pt>
                <c:pt idx="55">
                  <c:v>10.932566044446041</c:v>
                </c:pt>
                <c:pt idx="56">
                  <c:v>10.81242492144152</c:v>
                </c:pt>
                <c:pt idx="57">
                  <c:v>10.706027023037951</c:v>
                </c:pt>
                <c:pt idx="58">
                  <c:v>10.610638394962759</c:v>
                </c:pt>
                <c:pt idx="59">
                  <c:v>10.523958738708965</c:v>
                </c:pt>
                <c:pt idx="60">
                  <c:v>10.444039109113</c:v>
                </c:pt>
                <c:pt idx="61">
                  <c:v>10.369224546819488</c:v>
                </c:pt>
                <c:pt idx="62">
                  <c:v>10.298088339247085</c:v>
                </c:pt>
                <c:pt idx="63">
                  <c:v>10.229316074229464</c:v>
                </c:pt>
                <c:pt idx="64">
                  <c:v>10.161761342090472</c:v>
                </c:pt>
                <c:pt idx="65">
                  <c:v>10.094490642095005</c:v>
                </c:pt>
                <c:pt idx="66">
                  <c:v>10.026736201432916</c:v>
                </c:pt>
                <c:pt idx="67">
                  <c:v>9.9579102220106304</c:v>
                </c:pt>
                <c:pt idx="68">
                  <c:v>9.8875652001070726</c:v>
                </c:pt>
                <c:pt idx="69">
                  <c:v>9.8153630493294326</c:v>
                </c:pt>
                <c:pt idx="70">
                  <c:v>9.7410728889238349</c:v>
                </c:pt>
                <c:pt idx="71">
                  <c:v>9.6645496778941755</c:v>
                </c:pt>
                <c:pt idx="72">
                  <c:v>9.5857180547668772</c:v>
                </c:pt>
                <c:pt idx="73">
                  <c:v>9.50454901541287</c:v>
                </c:pt>
                <c:pt idx="74">
                  <c:v>9.4210572061833737</c:v>
                </c:pt>
                <c:pt idx="75">
                  <c:v>9.3353066391824164</c:v>
                </c:pt>
                <c:pt idx="76">
                  <c:v>9.2473965018103286</c:v>
                </c:pt>
                <c:pt idx="77">
                  <c:v>9.1574441881561945</c:v>
                </c:pt>
                <c:pt idx="78">
                  <c:v>9.065564470720421</c:v>
                </c:pt>
                <c:pt idx="79">
                  <c:v>8.9718739713676818</c:v>
                </c:pt>
                <c:pt idx="80">
                  <c:v>8.87648547390007</c:v>
                </c:pt>
                <c:pt idx="81">
                  <c:v>8.7795279063421532</c:v>
                </c:pt>
                <c:pt idx="82">
                  <c:v>8.6811405044029737</c:v>
                </c:pt>
                <c:pt idx="83">
                  <c:v>8.5814617237535309</c:v>
                </c:pt>
                <c:pt idx="84">
                  <c:v>8.4806305583639858</c:v>
                </c:pt>
                <c:pt idx="85">
                  <c:v>8.378782161675824</c:v>
                </c:pt>
                <c:pt idx="86">
                  <c:v>8.2760459511672053</c:v>
                </c:pt>
                <c:pt idx="87">
                  <c:v>8.172545469789398</c:v>
                </c:pt>
                <c:pt idx="88">
                  <c:v>8.0683983568857585</c:v>
                </c:pt>
                <c:pt idx="89">
                  <c:v>7.963711596350838</c:v>
                </c:pt>
                <c:pt idx="90">
                  <c:v>7.8585872814461295</c:v>
                </c:pt>
                <c:pt idx="91">
                  <c:v>7.7531230880369284</c:v>
                </c:pt>
                <c:pt idx="92">
                  <c:v>7.6474114901763466</c:v>
                </c:pt>
                <c:pt idx="93">
                  <c:v>7.54153939053364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2.68918382751416</c:v>
                </c:pt>
                <c:pt idx="32">
                  <c:v>21.895296192436003</c:v>
                </c:pt>
                <c:pt idx="33">
                  <c:v>21.11612472830242</c:v>
                </c:pt>
                <c:pt idx="34">
                  <c:v>20.395002947434637</c:v>
                </c:pt>
                <c:pt idx="35">
                  <c:v>19.761192969583192</c:v>
                </c:pt>
                <c:pt idx="36">
                  <c:v>19.251383874422785</c:v>
                </c:pt>
                <c:pt idx="37">
                  <c:v>18.741574779262383</c:v>
                </c:pt>
                <c:pt idx="38">
                  <c:v>18.596697508499972</c:v>
                </c:pt>
                <c:pt idx="39">
                  <c:v>18.508194168184236</c:v>
                </c:pt>
                <c:pt idx="40">
                  <c:v>18.47601787605727</c:v>
                </c:pt>
                <c:pt idx="41">
                  <c:v>18.499521955680844</c:v>
                </c:pt>
                <c:pt idx="42">
                  <c:v>18.577536703979554</c:v>
                </c:pt>
                <c:pt idx="43">
                  <c:v>18.708341175328027</c:v>
                </c:pt>
                <c:pt idx="44">
                  <c:v>18.890022246259669</c:v>
                </c:pt>
                <c:pt idx="45">
                  <c:v>19.120370524949198</c:v>
                </c:pt>
                <c:pt idx="46">
                  <c:v>19.397079897695981</c:v>
                </c:pt>
                <c:pt idx="47">
                  <c:v>19.717865857441652</c:v>
                </c:pt>
                <c:pt idx="48">
                  <c:v>20.079982854856297</c:v>
                </c:pt>
                <c:pt idx="49">
                  <c:v>20.479619638397047</c:v>
                </c:pt>
                <c:pt idx="50">
                  <c:v>20.912743489686072</c:v>
                </c:pt>
                <c:pt idx="51">
                  <c:v>21.375754066758809</c:v>
                </c:pt>
                <c:pt idx="52">
                  <c:v>21.865472658996353</c:v>
                </c:pt>
                <c:pt idx="53">
                  <c:v>22.379000633946774</c:v>
                </c:pt>
                <c:pt idx="54">
                  <c:v>22.913634636590366</c:v>
                </c:pt>
                <c:pt idx="55">
                  <c:v>23.466770822661008</c:v>
                </c:pt>
                <c:pt idx="56">
                  <c:v>24.035723300877493</c:v>
                </c:pt>
                <c:pt idx="57">
                  <c:v>24.617832558684988</c:v>
                </c:pt>
                <c:pt idx="58">
                  <c:v>25.21055335318535</c:v>
                </c:pt>
                <c:pt idx="59">
                  <c:v>25.811383657627886</c:v>
                </c:pt>
                <c:pt idx="60">
                  <c:v>26.417906219670289</c:v>
                </c:pt>
                <c:pt idx="61">
                  <c:v>27.027738020861726</c:v>
                </c:pt>
                <c:pt idx="62">
                  <c:v>27.638496145942362</c:v>
                </c:pt>
                <c:pt idx="63">
                  <c:v>28.247751656655183</c:v>
                </c:pt>
                <c:pt idx="64">
                  <c:v>28.853030046812226</c:v>
                </c:pt>
                <c:pt idx="65">
                  <c:v>29.45182665349494</c:v>
                </c:pt>
                <c:pt idx="66">
                  <c:v>30.041597518970615</c:v>
                </c:pt>
                <c:pt idx="67">
                  <c:v>30.619781884984128</c:v>
                </c:pt>
                <c:pt idx="68">
                  <c:v>31.183837834390875</c:v>
                </c:pt>
                <c:pt idx="69">
                  <c:v>31.731243131206643</c:v>
                </c:pt>
                <c:pt idx="70">
                  <c:v>32.259615281364972</c:v>
                </c:pt>
                <c:pt idx="71">
                  <c:v>32.76666847639116</c:v>
                </c:pt>
                <c:pt idx="72">
                  <c:v>33.25021117966606</c:v>
                </c:pt>
                <c:pt idx="73">
                  <c:v>33.708138741204678</c:v>
                </c:pt>
                <c:pt idx="74">
                  <c:v>34.13847965854238</c:v>
                </c:pt>
                <c:pt idx="75">
                  <c:v>34.539399919529394</c:v>
                </c:pt>
                <c:pt idx="76">
                  <c:v>34.909200254068111</c:v>
                </c:pt>
                <c:pt idx="77">
                  <c:v>35.246333302839254</c:v>
                </c:pt>
                <c:pt idx="78">
                  <c:v>35.549411251025262</c:v>
                </c:pt>
                <c:pt idx="79">
                  <c:v>35.817213225256815</c:v>
                </c:pt>
                <c:pt idx="80">
                  <c:v>36.048694056913781</c:v>
                </c:pt>
                <c:pt idx="81">
                  <c:v>36.242990756402904</c:v>
                </c:pt>
                <c:pt idx="82">
                  <c:v>36.399420790243809</c:v>
                </c:pt>
                <c:pt idx="83">
                  <c:v>36.517496266292149</c:v>
                </c:pt>
                <c:pt idx="84">
                  <c:v>36.596924860531601</c:v>
                </c:pt>
                <c:pt idx="85">
                  <c:v>36.637604019488244</c:v>
                </c:pt>
                <c:pt idx="86">
                  <c:v>36.639617994244894</c:v>
                </c:pt>
                <c:pt idx="87">
                  <c:v>36.603237360437831</c:v>
                </c:pt>
                <c:pt idx="88">
                  <c:v>36.528916557089488</c:v>
                </c:pt>
                <c:pt idx="89">
                  <c:v>36.417289495667568</c:v>
                </c:pt>
                <c:pt idx="90">
                  <c:v>36.269163113057559</c:v>
                </c:pt>
                <c:pt idx="91">
                  <c:v>36.08550905356612</c:v>
                </c:pt>
                <c:pt idx="92">
                  <c:v>35.867452545786634</c:v>
                </c:pt>
                <c:pt idx="93">
                  <c:v>35.616260968084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2.68918382751416</c:v>
                </c:pt>
                <c:pt idx="32">
                  <c:v>21.895296192436003</c:v>
                </c:pt>
                <c:pt idx="33">
                  <c:v>21.11612472830242</c:v>
                </c:pt>
                <c:pt idx="34">
                  <c:v>20.395002947434637</c:v>
                </c:pt>
                <c:pt idx="35">
                  <c:v>19.761192969583192</c:v>
                </c:pt>
                <c:pt idx="36">
                  <c:v>19.251383874422785</c:v>
                </c:pt>
                <c:pt idx="37">
                  <c:v>18.849983924920121</c:v>
                </c:pt>
                <c:pt idx="38">
                  <c:v>18.560229383395296</c:v>
                </c:pt>
                <c:pt idx="39">
                  <c:v>18.38322270276382</c:v>
                </c:pt>
                <c:pt idx="40">
                  <c:v>18.318870118509896</c:v>
                </c:pt>
                <c:pt idx="41">
                  <c:v>18.365878277757044</c:v>
                </c:pt>
                <c:pt idx="42">
                  <c:v>18.521907774354464</c:v>
                </c:pt>
                <c:pt idx="43">
                  <c:v>18.783516717051405</c:v>
                </c:pt>
                <c:pt idx="44">
                  <c:v>19.14687885891469</c:v>
                </c:pt>
                <c:pt idx="45">
                  <c:v>19.607575416293745</c:v>
                </c:pt>
                <c:pt idx="46">
                  <c:v>20.160994161787315</c:v>
                </c:pt>
                <c:pt idx="47">
                  <c:v>20.802566081278655</c:v>
                </c:pt>
                <c:pt idx="48">
                  <c:v>21.526800076107946</c:v>
                </c:pt>
                <c:pt idx="49">
                  <c:v>22.326073643189446</c:v>
                </c:pt>
                <c:pt idx="50">
                  <c:v>23.1923213457675</c:v>
                </c:pt>
                <c:pt idx="51">
                  <c:v>24.118342499912977</c:v>
                </c:pt>
                <c:pt idx="52">
                  <c:v>25.097779684388055</c:v>
                </c:pt>
                <c:pt idx="53">
                  <c:v>26.1248356342889</c:v>
                </c:pt>
                <c:pt idx="54">
                  <c:v>27.194103639576074</c:v>
                </c:pt>
                <c:pt idx="55">
                  <c:v>28.300376011717361</c:v>
                </c:pt>
                <c:pt idx="56">
                  <c:v>29.438280968150341</c:v>
                </c:pt>
                <c:pt idx="57">
                  <c:v>30.602499483765332</c:v>
                </c:pt>
                <c:pt idx="58">
                  <c:v>31.787941072766053</c:v>
                </c:pt>
                <c:pt idx="59">
                  <c:v>32.989601681651116</c:v>
                </c:pt>
                <c:pt idx="60">
                  <c:v>34.202646805735945</c:v>
                </c:pt>
                <c:pt idx="61">
                  <c:v>35.422310408118804</c:v>
                </c:pt>
                <c:pt idx="62">
                  <c:v>36.643826658280076</c:v>
                </c:pt>
                <c:pt idx="63">
                  <c:v>37.862337679705718</c:v>
                </c:pt>
                <c:pt idx="64">
                  <c:v>39.072894460019789</c:v>
                </c:pt>
                <c:pt idx="65">
                  <c:v>40.270487673385226</c:v>
                </c:pt>
                <c:pt idx="66">
                  <c:v>41.450029404336576</c:v>
                </c:pt>
                <c:pt idx="67">
                  <c:v>42.606398136363602</c:v>
                </c:pt>
                <c:pt idx="68">
                  <c:v>43.734510035177088</c:v>
                </c:pt>
                <c:pt idx="69">
                  <c:v>44.829320628808638</c:v>
                </c:pt>
                <c:pt idx="70">
                  <c:v>45.886064929125276</c:v>
                </c:pt>
                <c:pt idx="71">
                  <c:v>46.900171319177673</c:v>
                </c:pt>
                <c:pt idx="72">
                  <c:v>47.867256725727486</c:v>
                </c:pt>
                <c:pt idx="73">
                  <c:v>48.783111848804701</c:v>
                </c:pt>
                <c:pt idx="74">
                  <c:v>49.643793683480126</c:v>
                </c:pt>
                <c:pt idx="75">
                  <c:v>50.445634205454127</c:v>
                </c:pt>
                <c:pt idx="76">
                  <c:v>51.185234874531581</c:v>
                </c:pt>
                <c:pt idx="77">
                  <c:v>51.859500972073832</c:v>
                </c:pt>
                <c:pt idx="78">
                  <c:v>52.465656868445869</c:v>
                </c:pt>
                <c:pt idx="79">
                  <c:v>53.001260816908967</c:v>
                </c:pt>
                <c:pt idx="80">
                  <c:v>53.464222480222908</c:v>
                </c:pt>
                <c:pt idx="81">
                  <c:v>53.85281587920116</c:v>
                </c:pt>
                <c:pt idx="82">
                  <c:v>54.165675946882985</c:v>
                </c:pt>
                <c:pt idx="83">
                  <c:v>54.40182689897965</c:v>
                </c:pt>
                <c:pt idx="84">
                  <c:v>54.56068408745854</c:v>
                </c:pt>
                <c:pt idx="85">
                  <c:v>54.642042405371832</c:v>
                </c:pt>
                <c:pt idx="86">
                  <c:v>54.646070354885126</c:v>
                </c:pt>
                <c:pt idx="87">
                  <c:v>54.573309087270999</c:v>
                </c:pt>
                <c:pt idx="88">
                  <c:v>54.424667480574328</c:v>
                </c:pt>
                <c:pt idx="89">
                  <c:v>54.201413357730473</c:v>
                </c:pt>
                <c:pt idx="90">
                  <c:v>53.905160592510477</c:v>
                </c:pt>
                <c:pt idx="91">
                  <c:v>53.537852473527586</c:v>
                </c:pt>
                <c:pt idx="92">
                  <c:v>53.101739457968598</c:v>
                </c:pt>
                <c:pt idx="93">
                  <c:v>52.5993563025639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545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656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716683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61243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40449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5086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137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4749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15245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0329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160263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10" Type="http://schemas.openxmlformats.org/officeDocument/2006/relationships/chart" Target="../charts/chart9.xml"/><Relationship Id="rId4" Type="http://schemas.openxmlformats.org/officeDocument/2006/relationships/tags" Target="../tags/tag70.xml"/><Relationship Id="rId9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10" Type="http://schemas.openxmlformats.org/officeDocument/2006/relationships/chart" Target="../charts/chart10.xml"/><Relationship Id="rId4" Type="http://schemas.openxmlformats.org/officeDocument/2006/relationships/tags" Target="../tags/tag78.xml"/><Relationship Id="rId9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5" Type="http://schemas.openxmlformats.org/officeDocument/2006/relationships/tags" Target="../tags/tag87.xml"/><Relationship Id="rId10" Type="http://schemas.openxmlformats.org/officeDocument/2006/relationships/chart" Target="../charts/chart11.xml"/><Relationship Id="rId4" Type="http://schemas.openxmlformats.org/officeDocument/2006/relationships/tags" Target="../tags/tag86.xml"/><Relationship Id="rId9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5" Type="http://schemas.openxmlformats.org/officeDocument/2006/relationships/tags" Target="../tags/tag95.xml"/><Relationship Id="rId10" Type="http://schemas.openxmlformats.org/officeDocument/2006/relationships/chart" Target="../charts/chart12.xml"/><Relationship Id="rId4" Type="http://schemas.openxmlformats.org/officeDocument/2006/relationships/tags" Target="../tags/tag94.xml"/><Relationship Id="rId9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5" Type="http://schemas.openxmlformats.org/officeDocument/2006/relationships/tags" Target="../tags/tag103.xml"/><Relationship Id="rId10" Type="http://schemas.openxmlformats.org/officeDocument/2006/relationships/chart" Target="../charts/chart13.xml"/><Relationship Id="rId4" Type="http://schemas.openxmlformats.org/officeDocument/2006/relationships/tags" Target="../tags/tag102.xml"/><Relationship Id="rId9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5" Type="http://schemas.openxmlformats.org/officeDocument/2006/relationships/tags" Target="../tags/tag111.xml"/><Relationship Id="rId10" Type="http://schemas.openxmlformats.org/officeDocument/2006/relationships/chart" Target="../charts/chart14.xml"/><Relationship Id="rId4" Type="http://schemas.openxmlformats.org/officeDocument/2006/relationships/tags" Target="../tags/tag110.xml"/><Relationship Id="rId9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10" Type="http://schemas.openxmlformats.org/officeDocument/2006/relationships/chart" Target="../charts/chart15.xml"/><Relationship Id="rId4" Type="http://schemas.openxmlformats.org/officeDocument/2006/relationships/tags" Target="../tags/tag118.xml"/><Relationship Id="rId9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10" Type="http://schemas.openxmlformats.org/officeDocument/2006/relationships/chart" Target="../charts/chart16.xml"/><Relationship Id="rId4" Type="http://schemas.openxmlformats.org/officeDocument/2006/relationships/tags" Target="../tags/tag127.xml"/><Relationship Id="rId9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tags" Target="../tags/tag137.xml"/><Relationship Id="rId5" Type="http://schemas.openxmlformats.org/officeDocument/2006/relationships/tags" Target="../tags/tag136.xml"/><Relationship Id="rId10" Type="http://schemas.openxmlformats.org/officeDocument/2006/relationships/chart" Target="../charts/chart17.xml"/><Relationship Id="rId4" Type="http://schemas.openxmlformats.org/officeDocument/2006/relationships/tags" Target="../tags/tag135.xml"/><Relationship Id="rId9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10" Type="http://schemas.openxmlformats.org/officeDocument/2006/relationships/chart" Target="../charts/chart18.xml"/><Relationship Id="rId4" Type="http://schemas.openxmlformats.org/officeDocument/2006/relationships/tags" Target="../tags/tag143.xml"/><Relationship Id="rId9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5" Type="http://schemas.openxmlformats.org/officeDocument/2006/relationships/tags" Target="../tags/tag152.xml"/><Relationship Id="rId10" Type="http://schemas.openxmlformats.org/officeDocument/2006/relationships/chart" Target="../charts/chart19.xml"/><Relationship Id="rId4" Type="http://schemas.openxmlformats.org/officeDocument/2006/relationships/tags" Target="../tags/tag151.xml"/><Relationship Id="rId9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tags" Target="../tags/tag161.xml"/><Relationship Id="rId5" Type="http://schemas.openxmlformats.org/officeDocument/2006/relationships/tags" Target="../tags/tag160.xml"/><Relationship Id="rId10" Type="http://schemas.openxmlformats.org/officeDocument/2006/relationships/chart" Target="../charts/chart20.xml"/><Relationship Id="rId4" Type="http://schemas.openxmlformats.org/officeDocument/2006/relationships/tags" Target="../tags/tag159.xml"/><Relationship Id="rId9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5" Type="http://schemas.openxmlformats.org/officeDocument/2006/relationships/tags" Target="../tags/tag168.xml"/><Relationship Id="rId10" Type="http://schemas.openxmlformats.org/officeDocument/2006/relationships/chart" Target="../charts/chart21.xml"/><Relationship Id="rId4" Type="http://schemas.openxmlformats.org/officeDocument/2006/relationships/tags" Target="../tags/tag167.xml"/><Relationship Id="rId9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5" Type="http://schemas.openxmlformats.org/officeDocument/2006/relationships/tags" Target="../tags/tag176.xml"/><Relationship Id="rId10" Type="http://schemas.openxmlformats.org/officeDocument/2006/relationships/chart" Target="../charts/chart22.xml"/><Relationship Id="rId4" Type="http://schemas.openxmlformats.org/officeDocument/2006/relationships/tags" Target="../tags/tag175.xml"/><Relationship Id="rId9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87.xml"/><Relationship Id="rId3" Type="http://schemas.openxmlformats.org/officeDocument/2006/relationships/tags" Target="../tags/tag182.xml"/><Relationship Id="rId7" Type="http://schemas.openxmlformats.org/officeDocument/2006/relationships/tags" Target="../tags/tag186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tags" Target="../tags/tag185.xml"/><Relationship Id="rId5" Type="http://schemas.openxmlformats.org/officeDocument/2006/relationships/tags" Target="../tags/tag184.xml"/><Relationship Id="rId10" Type="http://schemas.openxmlformats.org/officeDocument/2006/relationships/chart" Target="../charts/chart23.xml"/><Relationship Id="rId4" Type="http://schemas.openxmlformats.org/officeDocument/2006/relationships/tags" Target="../tags/tag183.xml"/><Relationship Id="rId9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95.xml"/><Relationship Id="rId3" Type="http://schemas.openxmlformats.org/officeDocument/2006/relationships/tags" Target="../tags/tag190.xml"/><Relationship Id="rId7" Type="http://schemas.openxmlformats.org/officeDocument/2006/relationships/tags" Target="../tags/tag194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tags" Target="../tags/tag193.xml"/><Relationship Id="rId5" Type="http://schemas.openxmlformats.org/officeDocument/2006/relationships/tags" Target="../tags/tag192.xml"/><Relationship Id="rId10" Type="http://schemas.openxmlformats.org/officeDocument/2006/relationships/chart" Target="../charts/chart24.xml"/><Relationship Id="rId4" Type="http://schemas.openxmlformats.org/officeDocument/2006/relationships/tags" Target="../tags/tag191.xml"/><Relationship Id="rId9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03.xml"/><Relationship Id="rId3" Type="http://schemas.openxmlformats.org/officeDocument/2006/relationships/tags" Target="../tags/tag198.xml"/><Relationship Id="rId7" Type="http://schemas.openxmlformats.org/officeDocument/2006/relationships/tags" Target="../tags/tag202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tags" Target="../tags/tag201.xml"/><Relationship Id="rId5" Type="http://schemas.openxmlformats.org/officeDocument/2006/relationships/tags" Target="../tags/tag200.xml"/><Relationship Id="rId10" Type="http://schemas.openxmlformats.org/officeDocument/2006/relationships/chart" Target="../charts/chart25.xml"/><Relationship Id="rId4" Type="http://schemas.openxmlformats.org/officeDocument/2006/relationships/tags" Target="../tags/tag199.xml"/><Relationship Id="rId9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5" Type="http://schemas.openxmlformats.org/officeDocument/2006/relationships/tags" Target="../tags/tag208.xml"/><Relationship Id="rId10" Type="http://schemas.openxmlformats.org/officeDocument/2006/relationships/chart" Target="../charts/chart26.xml"/><Relationship Id="rId4" Type="http://schemas.openxmlformats.org/officeDocument/2006/relationships/tags" Target="../tags/tag207.xml"/><Relationship Id="rId9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tags" Target="../tags/tag217.xml"/><Relationship Id="rId5" Type="http://schemas.openxmlformats.org/officeDocument/2006/relationships/tags" Target="../tags/tag216.xml"/><Relationship Id="rId10" Type="http://schemas.openxmlformats.org/officeDocument/2006/relationships/chart" Target="../charts/chart27.xml"/><Relationship Id="rId4" Type="http://schemas.openxmlformats.org/officeDocument/2006/relationships/tags" Target="../tags/tag215.xml"/><Relationship Id="rId9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chart" Target="../charts/chart2.xml"/><Relationship Id="rId4" Type="http://schemas.openxmlformats.org/officeDocument/2006/relationships/tags" Target="../tags/tag14.xml"/><Relationship Id="rId9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tags" Target="../tags/tag225.xml"/><Relationship Id="rId5" Type="http://schemas.openxmlformats.org/officeDocument/2006/relationships/tags" Target="../tags/tag224.xml"/><Relationship Id="rId10" Type="http://schemas.openxmlformats.org/officeDocument/2006/relationships/chart" Target="../charts/chart28.xml"/><Relationship Id="rId4" Type="http://schemas.openxmlformats.org/officeDocument/2006/relationships/tags" Target="../tags/tag223.xml"/><Relationship Id="rId9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35.xml"/><Relationship Id="rId3" Type="http://schemas.openxmlformats.org/officeDocument/2006/relationships/tags" Target="../tags/tag230.xml"/><Relationship Id="rId7" Type="http://schemas.openxmlformats.org/officeDocument/2006/relationships/tags" Target="../tags/tag234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tags" Target="../tags/tag233.xml"/><Relationship Id="rId5" Type="http://schemas.openxmlformats.org/officeDocument/2006/relationships/tags" Target="../tags/tag232.xml"/><Relationship Id="rId10" Type="http://schemas.openxmlformats.org/officeDocument/2006/relationships/chart" Target="../charts/chart29.xml"/><Relationship Id="rId4" Type="http://schemas.openxmlformats.org/officeDocument/2006/relationships/tags" Target="../tags/tag231.xml"/><Relationship Id="rId9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5" Type="http://schemas.openxmlformats.org/officeDocument/2006/relationships/tags" Target="../tags/tag240.xml"/><Relationship Id="rId10" Type="http://schemas.openxmlformats.org/officeDocument/2006/relationships/chart" Target="../charts/chart30.xml"/><Relationship Id="rId4" Type="http://schemas.openxmlformats.org/officeDocument/2006/relationships/tags" Target="../tags/tag239.xml"/><Relationship Id="rId9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10" Type="http://schemas.openxmlformats.org/officeDocument/2006/relationships/chart" Target="../charts/chart3.xml"/><Relationship Id="rId4" Type="http://schemas.openxmlformats.org/officeDocument/2006/relationships/tags" Target="../tags/tag22.xml"/><Relationship Id="rId9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chart" Target="../charts/chart4.xml"/><Relationship Id="rId4" Type="http://schemas.openxmlformats.org/officeDocument/2006/relationships/tags" Target="../tags/tag30.xml"/><Relationship Id="rId9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chart" Target="../charts/chart5.xml"/><Relationship Id="rId4" Type="http://schemas.openxmlformats.org/officeDocument/2006/relationships/tags" Target="../tags/tag38.xml"/><Relationship Id="rId9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chart" Target="../charts/chart6.xml"/><Relationship Id="rId4" Type="http://schemas.openxmlformats.org/officeDocument/2006/relationships/tags" Target="../tags/tag46.xml"/><Relationship Id="rId9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chart" Target="../charts/chart7.xml"/><Relationship Id="rId4" Type="http://schemas.openxmlformats.org/officeDocument/2006/relationships/tags" Target="../tags/tag54.xml"/><Relationship Id="rId9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10" Type="http://schemas.openxmlformats.org/officeDocument/2006/relationships/chart" Target="../charts/chart8.xml"/><Relationship Id="rId4" Type="http://schemas.openxmlformats.org/officeDocument/2006/relationships/tags" Target="../tags/tag62.xml"/><Relationship Id="rId9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pacientů s COVID-19 hospitalizovaných na JIP</a:t>
            </a:r>
          </a:p>
        </p:txBody>
      </p:sp>
    </p:spTree>
    <p:extLst>
      <p:ext uri="{BB962C8B-B14F-4D97-AF65-F5344CB8AC3E}">
        <p14:creationId xmlns:p14="http://schemas.microsoft.com/office/powerpoint/2010/main" val="32439929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9399334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39BE026F-D92C-4035-885F-CC69A87A4DB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50AB6B0F-AD9F-4955-9B9A-CB5FFF65B05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D7E3FEB7-317F-4D60-B1D1-C5655B3E641B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1AA59520-A5CF-4958-B0BA-77CBE769A78C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ovéPole 27">
              <a:extLst>
                <a:ext uri="{FF2B5EF4-FFF2-40B4-BE49-F238E27FC236}">
                  <a16:creationId xmlns:a16="http://schemas.microsoft.com/office/drawing/2014/main" id="{306BF00B-7DAF-4923-88D0-59D63D416279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DBC209D1-0184-49BE-B921-069D5802013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7E7B0A33-C5CF-449B-BD74-C204EEF12D37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F1D459EB-A550-4745-BB88-40E3D2C1D11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D8C97BC8-3AA2-4D8B-9F0C-166148531C6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329414" y="1515080"/>
            <a:ext cx="60337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877E8F38-393C-424F-BF9A-1F1065EBBBD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329414" y="1512417"/>
            <a:ext cx="2205681" cy="956770"/>
            <a:chOff x="6462419" y="1469144"/>
            <a:chExt cx="3502394" cy="342705"/>
          </a:xfrm>
        </p:grpSpPr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5F77F0AF-A7B5-4B9A-8797-A964608C986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4">
              <a:extLst>
                <a:ext uri="{FF2B5EF4-FFF2-40B4-BE49-F238E27FC236}">
                  <a16:creationId xmlns:a16="http://schemas.microsoft.com/office/drawing/2014/main" id="{0D22AE9A-784B-4759-A9B8-F01CFF09E1D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184606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dubi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1774691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8C74692-231B-42E4-9536-BD6D2E87F7B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03026E2F-C08E-4636-9B3B-1E08D2D8C29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A75AA9DC-B5A6-446D-B53D-2BB17C1750FD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A5F3725-4B7E-4801-819A-DC0D5A86AF57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TextovéPole 30">
              <a:extLst>
                <a:ext uri="{FF2B5EF4-FFF2-40B4-BE49-F238E27FC236}">
                  <a16:creationId xmlns:a16="http://schemas.microsoft.com/office/drawing/2014/main" id="{CC12BD4C-F131-40FB-B291-974987A581B2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996ADA0D-F09A-474F-902C-B5E205715CC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F6A983BE-3E07-4693-AFBB-E13CAAE38756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5" name="TextBox 14">
            <a:extLst>
              <a:ext uri="{FF2B5EF4-FFF2-40B4-BE49-F238E27FC236}">
                <a16:creationId xmlns:a16="http://schemas.microsoft.com/office/drawing/2014/main" id="{529322DB-712F-44CB-B269-3B4607548A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192C7FAC-41C2-4E0F-8396-C758578335D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329414" y="1515080"/>
            <a:ext cx="60337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FF2B2FD6-31B2-4989-A60F-A1921941997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329414" y="1512417"/>
            <a:ext cx="2205681" cy="956770"/>
            <a:chOff x="6462419" y="1469144"/>
            <a:chExt cx="3502394" cy="342705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B75699A0-19AA-4639-BF7C-74BFD5494CB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32B21C1D-D8F7-4CF2-9FFB-4D48A8286CF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0190135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 Vysočin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0365174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0827602-8CA2-4AC6-89B4-61FE1DAE429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E30185D6-15AB-4DD3-8B69-23AAEC6BB59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81D1D070-99CF-47A2-872E-F708C4099130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808C08D0-BC8E-4898-8251-6DD2FAF1E639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TextovéPole 31">
              <a:extLst>
                <a:ext uri="{FF2B5EF4-FFF2-40B4-BE49-F238E27FC236}">
                  <a16:creationId xmlns:a16="http://schemas.microsoft.com/office/drawing/2014/main" id="{77DF0FE7-989B-4F3A-A16C-A70186069F75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C467F069-394E-402E-ADE8-A1A8E4191418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D0D52325-F804-4BE3-AB68-9FCA3258010D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5" name="TextBox 14">
            <a:extLst>
              <a:ext uri="{FF2B5EF4-FFF2-40B4-BE49-F238E27FC236}">
                <a16:creationId xmlns:a16="http://schemas.microsoft.com/office/drawing/2014/main" id="{6CF04599-8CC9-4698-B822-B0F6180BE24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81349394-B9E2-4EB9-9768-1730E93FD5B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329414" y="1515080"/>
            <a:ext cx="60337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184886C5-EC24-4442-9931-F9F8034335C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329414" y="1512417"/>
            <a:ext cx="2205681" cy="956770"/>
            <a:chOff x="6462419" y="1469144"/>
            <a:chExt cx="3502394" cy="342705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D0F1329C-DA66-4DDC-91F4-F5CB951C8A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8" name="Straight Connector 34">
              <a:extLst>
                <a:ext uri="{FF2B5EF4-FFF2-40B4-BE49-F238E27FC236}">
                  <a16:creationId xmlns:a16="http://schemas.microsoft.com/office/drawing/2014/main" id="{0BA965C1-41FC-4FC6-BC84-2E959F72ADB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434810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3981480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16537EFA-7227-4FF7-BA71-3FDA859697D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D1805C03-174F-4627-8319-C4D257F9866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DFABBEF-4A13-4240-AA80-6747E9759FF2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5A20EC7F-F9E6-41EC-847C-3AF15C1920D8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TextovéPole 30">
              <a:extLst>
                <a:ext uri="{FF2B5EF4-FFF2-40B4-BE49-F238E27FC236}">
                  <a16:creationId xmlns:a16="http://schemas.microsoft.com/office/drawing/2014/main" id="{D21E7806-8947-4B37-9995-A07EA4D01AA8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892959B5-18C7-4E8D-86D5-6AA2A989036C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745915F2-F834-4C5E-8381-E1B48858EC08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5" name="TextBox 14">
            <a:extLst>
              <a:ext uri="{FF2B5EF4-FFF2-40B4-BE49-F238E27FC236}">
                <a16:creationId xmlns:a16="http://schemas.microsoft.com/office/drawing/2014/main" id="{901C9968-1E99-4346-8280-99F83D92584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AD2CBD14-1D1A-4501-A7F0-893DD988C2E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329414" y="1515080"/>
            <a:ext cx="60337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49FFEA11-5BFA-43D5-87F7-F6CFE9C3474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329414" y="1512417"/>
            <a:ext cx="2205681" cy="956770"/>
            <a:chOff x="6462419" y="1469144"/>
            <a:chExt cx="3502394" cy="342705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B04BD0DD-CD8A-4D5C-AA92-C6D3AE0E41E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A0C4822F-6CDC-4F1E-AB16-F8546BB56E1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9799672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053755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D62A6906-9D2C-452C-8AF7-9AF1CDBFD5C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245CD857-B209-4056-8613-82A340311FB2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09F15304-F5AC-4FC1-ADA1-172B1047150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E0597A94-7842-4D38-A2B4-68202D6C7E64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TextovéPole 30">
              <a:extLst>
                <a:ext uri="{FF2B5EF4-FFF2-40B4-BE49-F238E27FC236}">
                  <a16:creationId xmlns:a16="http://schemas.microsoft.com/office/drawing/2014/main" id="{B1F07855-05FF-4BD9-94D5-C58F0D578E37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F7205515-F326-41AD-9922-45EF954A8019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B89BCCA0-CB67-4835-9A62-9446CE64C408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5" name="TextBox 14">
            <a:extLst>
              <a:ext uri="{FF2B5EF4-FFF2-40B4-BE49-F238E27FC236}">
                <a16:creationId xmlns:a16="http://schemas.microsoft.com/office/drawing/2014/main" id="{E7BA7411-B2A9-4EE1-A3DF-AA142EAFF99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D0E7F7CA-2581-4721-AED5-1DFF83CFAA9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329414" y="1515080"/>
            <a:ext cx="60337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B5923F67-3757-43C6-AB4F-67BA495F549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329414" y="1512417"/>
            <a:ext cx="2205681" cy="956770"/>
            <a:chOff x="6462419" y="1469144"/>
            <a:chExt cx="3502394" cy="342705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DA1A2CEF-2795-4BD4-A45D-2372ACAA303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64B849F8-2A55-49B8-B3B1-CF2C5C5FE82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0668263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0801288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8D09A67D-7D23-43E2-A6BE-F48A474E3B9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670C58CC-56AF-4885-93AC-EEC0B66E8F2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98E18313-5715-4B0F-9AF4-75295DD34286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702A36B-F942-4179-B110-51B26B2A2853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TextovéPole 30">
              <a:extLst>
                <a:ext uri="{FF2B5EF4-FFF2-40B4-BE49-F238E27FC236}">
                  <a16:creationId xmlns:a16="http://schemas.microsoft.com/office/drawing/2014/main" id="{3F09DA83-CB19-4546-A1E3-7E36650F261B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7529EC28-0CD1-4E43-B99A-FCA187F158FE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12B019AC-2AE5-4644-9562-F147D49B7DF1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5" name="TextBox 14">
            <a:extLst>
              <a:ext uri="{FF2B5EF4-FFF2-40B4-BE49-F238E27FC236}">
                <a16:creationId xmlns:a16="http://schemas.microsoft.com/office/drawing/2014/main" id="{2D42655A-82A4-4EB6-ACE6-58A146989D3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A7960EDC-33D7-4EBF-BDAA-0BF5883F2A1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329414" y="1515080"/>
            <a:ext cx="60337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38F78473-EF52-4326-997D-97F1CBD83BF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329414" y="1512417"/>
            <a:ext cx="2205681" cy="956770"/>
            <a:chOff x="6462419" y="1469144"/>
            <a:chExt cx="3502394" cy="342705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A8338935-0A7E-410F-AEA2-F8605D95556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0586B56B-8EDC-4BA3-80EA-AD624BEBD91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43890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0831247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E39E4751-8132-4971-9297-B2C1CCC5F96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AA7B4152-67F1-4A0C-90C2-68B660EAAC33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B86C5702-7886-4DAC-98D8-1A4920502B0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C70B61FE-C235-4809-9BA7-9541053417F9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TextovéPole 30">
              <a:extLst>
                <a:ext uri="{FF2B5EF4-FFF2-40B4-BE49-F238E27FC236}">
                  <a16:creationId xmlns:a16="http://schemas.microsoft.com/office/drawing/2014/main" id="{D75F043C-6D35-401B-9302-7B01CEE7A827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685128D7-50F2-4BDC-983B-AFD7DEEAFA36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FE99993F-C084-4973-8AA9-8D91A588D24B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5" name="TextBox 14">
            <a:extLst>
              <a:ext uri="{FF2B5EF4-FFF2-40B4-BE49-F238E27FC236}">
                <a16:creationId xmlns:a16="http://schemas.microsoft.com/office/drawing/2014/main" id="{83E62036-E821-41DD-BE1D-4535DF6A6AF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BCB40974-9466-46AF-B3C8-BA00E883E4E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329414" y="1515080"/>
            <a:ext cx="60337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08B810AD-BF73-46C0-A49B-97085221A54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329414" y="1512417"/>
            <a:ext cx="2205681" cy="956770"/>
            <a:chOff x="6462419" y="1469144"/>
            <a:chExt cx="3502394" cy="342705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42DA8389-3BF8-4FBD-8E27-61B9714D53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626AE639-807A-4B41-A6CE-1809DA2642D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1260060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0952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411508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3CD8E08-B1A8-481B-829C-1FA77F47833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FCBB7C53-A0AF-4734-8F42-082CA7CE24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B4822350-EEC0-4DE9-A27F-CFC51F675CB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24C3821F-DBA8-419D-8924-F6611529C5B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D0AF0969-019D-4D61-ABB2-74E40B0BF59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a rozsah pravděpodobnostních predikcí 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5BD3B918-BD47-41A4-8675-B5A862B1588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193736"/>
            <a:ext cx="2304789" cy="2862322"/>
            <a:chOff x="9881260" y="3327524"/>
            <a:chExt cx="2304789" cy="2862322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A2B3FD70-0F99-4ECE-B826-78CF79675EB8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8D6EFB5B-348F-446C-BCD7-D63E87D2DC96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TextovéPole 28">
              <a:extLst>
                <a:ext uri="{FF2B5EF4-FFF2-40B4-BE49-F238E27FC236}">
                  <a16:creationId xmlns:a16="http://schemas.microsoft.com/office/drawing/2014/main" id="{3A21FE50-8D80-466C-80BA-AE3A48EFE2E4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52ECF102-C6EE-4968-916C-D9978AEA3107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6" name="Přímá spojnice 45">
              <a:extLst>
                <a:ext uri="{FF2B5EF4-FFF2-40B4-BE49-F238E27FC236}">
                  <a16:creationId xmlns:a16="http://schemas.microsoft.com/office/drawing/2014/main" id="{27155D22-133A-4506-9635-9603259749DC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6537537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8469960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2CAD1014-46A9-4E75-B7FD-9C3B62779BC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9F71F59A-1696-4800-8A19-F14C8854D8B3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97E08656-1917-40C0-A139-77C21A248F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DA43658E-B104-416A-901B-C7347159AF1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843FAFD8-5727-4AE5-864A-CB4110D0AB8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AFF5A2E8-38CF-4CD9-A869-F962AC7D998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551E4E28-C9D1-40DC-9724-4946F9CD088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D9C1563E-F101-47D4-B95D-610F3754A0B8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50FACF39-9E75-466D-BE2B-9DFC54223BD5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E83C4A5B-921A-4261-9704-92AA219A512E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0A309AB7-DC62-401B-9D1E-302A5459692E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9437721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5958070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0D0D335-1625-43BE-A703-9BA88097712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a rozsah pravděpodobnostních predikcí </a:t>
            </a:r>
          </a:p>
        </p:txBody>
      </p:sp>
      <p:sp>
        <p:nvSpPr>
          <p:cNvPr id="21" name="TextBox 14">
            <a:extLst>
              <a:ext uri="{FF2B5EF4-FFF2-40B4-BE49-F238E27FC236}">
                <a16:creationId xmlns:a16="http://schemas.microsoft.com/office/drawing/2014/main" id="{BBBB89FD-1528-48D1-A14E-50A8FB0A396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37" name="Obdélník 36">
            <a:extLst>
              <a:ext uri="{FF2B5EF4-FFF2-40B4-BE49-F238E27FC236}">
                <a16:creationId xmlns:a16="http://schemas.microsoft.com/office/drawing/2014/main" id="{6878D387-4BA4-4610-823A-3027BA7E7F8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329414" y="1515080"/>
            <a:ext cx="60337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38" name="Skupina 37">
            <a:extLst>
              <a:ext uri="{FF2B5EF4-FFF2-40B4-BE49-F238E27FC236}">
                <a16:creationId xmlns:a16="http://schemas.microsoft.com/office/drawing/2014/main" id="{40BD68FE-97D6-483E-B57E-1766998DDCCA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4329414" y="1512417"/>
            <a:ext cx="2205681" cy="956770"/>
            <a:chOff x="6462419" y="1469144"/>
            <a:chExt cx="3502394" cy="342705"/>
          </a:xfrm>
        </p:grpSpPr>
        <p:cxnSp>
          <p:nvCxnSpPr>
            <p:cNvPr id="39" name="Straight Connector 33">
              <a:extLst>
                <a:ext uri="{FF2B5EF4-FFF2-40B4-BE49-F238E27FC236}">
                  <a16:creationId xmlns:a16="http://schemas.microsoft.com/office/drawing/2014/main" id="{EB228A66-8C76-41C6-9017-269412BA9D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40" name="Straight Connector 34">
              <a:extLst>
                <a:ext uri="{FF2B5EF4-FFF2-40B4-BE49-F238E27FC236}">
                  <a16:creationId xmlns:a16="http://schemas.microsoft.com/office/drawing/2014/main" id="{094E658A-13C8-49A1-B816-864DDAF6933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pSp>
        <p:nvGrpSpPr>
          <p:cNvPr id="42" name="Skupina 41">
            <a:extLst>
              <a:ext uri="{FF2B5EF4-FFF2-40B4-BE49-F238E27FC236}">
                <a16:creationId xmlns:a16="http://schemas.microsoft.com/office/drawing/2014/main" id="{703D1D8C-F41A-4741-B0BD-C4E970828B0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193736"/>
            <a:ext cx="2304789" cy="2862322"/>
            <a:chOff x="9881260" y="3327524"/>
            <a:chExt cx="2304789" cy="2862322"/>
          </a:xfrm>
        </p:grpSpPr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709119DA-3599-4EDE-AC6C-4172BC270AAB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4" name="Obdélník 43">
              <a:extLst>
                <a:ext uri="{FF2B5EF4-FFF2-40B4-BE49-F238E27FC236}">
                  <a16:creationId xmlns:a16="http://schemas.microsoft.com/office/drawing/2014/main" id="{2F06FD7C-F6D7-4B07-B23B-36D9DF3F4D74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5" name="TextovéPole 28">
              <a:extLst>
                <a:ext uri="{FF2B5EF4-FFF2-40B4-BE49-F238E27FC236}">
                  <a16:creationId xmlns:a16="http://schemas.microsoft.com/office/drawing/2014/main" id="{5E302F8D-D6FA-428C-A42D-5481544E8BFE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6" name="Přímá spojnice 45">
              <a:extLst>
                <a:ext uri="{FF2B5EF4-FFF2-40B4-BE49-F238E27FC236}">
                  <a16:creationId xmlns:a16="http://schemas.microsoft.com/office/drawing/2014/main" id="{C993EFCA-2B8C-4842-BE49-C2EC8B4B82D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7" name="Přímá spojnice 46">
              <a:extLst>
                <a:ext uri="{FF2B5EF4-FFF2-40B4-BE49-F238E27FC236}">
                  <a16:creationId xmlns:a16="http://schemas.microsoft.com/office/drawing/2014/main" id="{C42E2FD5-7AF8-47EA-B78E-0D5909B157D0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0643967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7498567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BA632822-C34E-4013-B5D8-261BF17A9B9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E52A295-7BF8-4370-855B-1248837C22D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9D92E924-536D-44B7-B1CB-EE3DCB6AE47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FFB3C811-A293-46FC-A16F-77C7992A8D0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924BD1ED-49C7-4F5B-AF12-6E04D4EFE35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657CBF1-7421-4FD2-AC90-6DA6495A0F1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D38745C4-2FBC-478B-9545-66189CF39EBC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927C1ACA-92A4-4923-920C-B5F72B1EC9E8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F91DFC4B-7AB2-4A49-A4AB-C475140C719F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684322B7-9BB7-406F-9906-A1F4E5AB541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1BB07F22-E428-4DBA-A32B-AD0B59389F23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471537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233119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DA5D61AF-0332-40C2-BB04-F4D096D6E99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5F305A9A-3136-4F76-B0A2-09F73ECCDDA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A269DE63-FDC6-4B84-98BE-B6CFDD9837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C6CFE6FB-CD76-4429-8B13-78102210D4A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35DD168A-B9AD-436C-A759-B670ADA91FD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64081EAF-A0F8-4343-9019-0E26AFC106E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E50B1D4A-4817-451C-9CC1-5DEABD58FECE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F2220664-98A0-4E7F-98B4-27701221706F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EE8BE8C0-E1A3-439F-9BD1-FCC2D003706F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259C102-1025-4FF8-97CF-4C91FE2AE66A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8688F18C-5BCD-4F3B-9345-B4AAA5AB9C32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5635101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</a:t>
            </a:r>
            <a:r>
              <a:rPr lang="cs-CZ" b="1" i="1" dirty="0" err="1">
                <a:solidFill>
                  <a:prstClr val="black"/>
                </a:solidFill>
                <a:latin typeface="Arial" panose="020B0604020202020204"/>
              </a:rPr>
              <a:t>ňský</a:t>
            </a: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 kraj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867415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68FA0FD7-A9D4-4977-A82F-B109FE6BB4D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394C5BF-EAEA-4A52-BC22-88C21938EE28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4A546A56-1D31-455A-B255-C4D1958D421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0B21ABF9-86F2-4DA5-991B-B74A974A60C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232EDB6D-3F22-4744-B94F-16AF5CCD1E2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7718139-3C08-4AC3-B475-FD96AD78022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62410DB6-F71E-49D8-B654-69E84CDCEB1E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4839A24E-0F0E-494D-BC3A-56BCDF3CFE1B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5B671159-9021-4458-9D19-64F24CED2869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21D39921-F473-48CC-8E2C-3A42E824F89E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9C4BC3AA-2FE5-4E55-8223-86106E02B3B4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137238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799670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42CEDCF4-FEBD-4465-83B2-7C78300C2F0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D1569B6-256B-4C8F-9010-78B4F8EE829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CF11B691-9989-41FB-887E-FEC827D5965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A17921B4-1165-4B78-85EC-A9D3BA1940D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0" name="Obdélník 29">
            <a:extLst>
              <a:ext uri="{FF2B5EF4-FFF2-40B4-BE49-F238E27FC236}">
                <a16:creationId xmlns:a16="http://schemas.microsoft.com/office/drawing/2014/main" id="{9F22EAC2-763D-49FC-B617-9EFB0202CB6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51FF66DB-E89E-475C-9EBF-85A379D48DD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A02F7EE-BEB9-4619-8C46-F28837BFBEE3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30EB4943-FC90-4BB2-A9D7-991CB2BF9EAF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TextovéPole 31">
              <a:extLst>
                <a:ext uri="{FF2B5EF4-FFF2-40B4-BE49-F238E27FC236}">
                  <a16:creationId xmlns:a16="http://schemas.microsoft.com/office/drawing/2014/main" id="{5C3B25A2-B442-4521-9FF2-3F5E8CE0C061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D44FD6BC-3C22-4340-82CD-1E53C1A1B4E6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35288AAC-58A3-449D-8333-24A8F31CC547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7375600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907374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3330C78D-07B6-4572-A5CF-C6076C933D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398AB971-BBF1-40DC-8D98-F1A1DAF7724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82BD9C44-5356-4993-BCC4-F04E24A4C99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208184DF-A9B8-4634-B36B-67036162198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62F383DC-393F-461C-80C9-85F3E3BE6BD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3418382A-14AC-4E9E-B58F-9AF3001143F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81DBDE78-6B49-4E76-94DF-6CD65F999E2B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75AB3F7E-AD39-4A09-8058-70938F19C1E8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29FF4C7A-C5A5-48C3-BFC3-6D8FFDA23876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7E5496FD-17D2-4FF9-A409-D0DEBD1C1DA7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9B5D5018-AE5B-4740-801F-DEBED99BFF26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7630944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818904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AA83F3A3-F5FF-45A1-956F-A9A65AD83B4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D32CE4DE-136C-4B86-B42E-748A5679AAE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F7823EF8-DE07-4C19-A508-256EFEAD896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C704867F-77CE-4E84-9578-B8F10A715E9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44DA3E5F-10D4-418D-9733-107203B53E4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0A0C086B-39C7-4BED-BB2A-9FBB941D8F5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7D43B4E2-2517-4CA6-BA95-88A68431C34A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1FC64AE0-9DE3-4ECF-97C5-68E7C2D84EE0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3927C47C-BE84-4D41-A21D-3C2BBBBFAC1A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7DDD3CB6-7419-4776-8F88-9BABA350E3CE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5F7100F1-40B0-4A3F-905B-E84C8D5431AA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9220456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879024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A33A3ED6-9F6E-422F-A1E1-DB80810F6BA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0263987F-EAA1-4BBB-B6F7-76EE20E6858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2AD54B8D-5F70-4EE9-BA35-C2A3D321DA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98FCB7AD-31F3-4966-ADD1-362602914A6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9484D433-0C79-4AB0-A9DB-731B3F90C11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A29D530C-772D-4E75-9134-A0464F2152C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F09C31E3-90CB-404F-A09E-A38E79FE251E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908DDED9-082D-4E1B-AFEF-65C89C03E2F5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BCF51C08-CE88-4D68-9005-C4809F15A59B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F6F10C0D-EAE9-4FB6-9EE6-23C3555E3110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CA9B6863-25A8-443E-8433-917238550860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2077399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dubi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1607649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469E15C4-0CCB-4F46-926B-2387D65DA98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537C7739-5675-4655-9616-A04330B3784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BC5476AC-4060-4598-9FC2-CC17B8D443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CFACAE04-1140-4EC9-8FFE-E20099DF9F4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DEB47648-9DBA-4257-8749-5AC5E2E9F36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242129ED-E3CB-4294-9151-FC316496D1B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4509DF1-EB5C-4799-BC7A-010CF548647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DE14A4B4-BBFE-4422-A60F-C16FBA650609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75C5BE0A-7E9D-4FDC-A36F-65A7A82B36CF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61F33191-2061-49D6-B494-2A43F5F4D18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3EBD53F8-C56B-4273-AF9E-FE976143B96B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75545715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 Vysočin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130333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E8B67ED9-BE73-44A5-9539-1038B48FB9F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4046DB7-CA9B-4E3D-B9C0-11310A1F1A3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5E867C1B-A44D-4A25-8F4A-F277E589CA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787B84C6-A945-422A-818E-351A7F5CC0B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0" name="Obdélník 29">
            <a:extLst>
              <a:ext uri="{FF2B5EF4-FFF2-40B4-BE49-F238E27FC236}">
                <a16:creationId xmlns:a16="http://schemas.microsoft.com/office/drawing/2014/main" id="{48622A7D-9EC9-4909-A142-C336B30D59E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6A54C1B-BB5B-461F-BEB9-25C799C9A36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91358E8-3FA4-4C25-BF37-38DEF7F7D22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476B03E3-7F86-4AC3-83B7-00F910E89544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TextovéPole 31">
              <a:extLst>
                <a:ext uri="{FF2B5EF4-FFF2-40B4-BE49-F238E27FC236}">
                  <a16:creationId xmlns:a16="http://schemas.microsoft.com/office/drawing/2014/main" id="{658F7A07-724F-440A-9584-30E5BA484049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770DCB2C-ED56-4EE9-AE17-B5226EA8E60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7F743036-3E18-4D57-A7F8-021073018A96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7281845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244460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1B209A63-279D-4DFD-917A-8AE1EAECB8E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02957B48-E40E-429D-A4A5-1F788E8767F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E615FA83-B5A2-4E9B-9F67-A53B7A2B40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64CD3EE4-99FE-4815-BD61-2A66E2F8C23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76F5D25C-6375-4C91-8C6E-C34A823B023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6D7E2B36-7B37-4E0D-86E0-422EF8A2ECB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F58EA4DE-75F5-4442-A847-E48520CE4233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39276718-03CA-4D12-9594-89B596FA1F00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0414D851-8E9D-4C5F-B43C-298F337A83AC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822BB063-E166-4F5F-8A08-D631A64E022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AE1675B0-B3B7-4BF2-BD83-61BE3AD56924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497859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09586102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D9680759-4220-4FA8-94F2-5E1BB73350D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E8410A57-2947-4CFD-8618-1501A1E82FAE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260A8C2-F6C1-4B6A-B81E-68327DF2F296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D6A746EB-9EEC-495B-BB66-B010858F1354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ovéPole 27">
              <a:extLst>
                <a:ext uri="{FF2B5EF4-FFF2-40B4-BE49-F238E27FC236}">
                  <a16:creationId xmlns:a16="http://schemas.microsoft.com/office/drawing/2014/main" id="{9552A28B-BD4F-4F52-A198-13C9E006F625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B3568D6-047D-44D3-89DD-3F39284AE09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F37327B8-B096-48DB-80C9-2272E27C8232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5" name="TextBox 14">
            <a:extLst>
              <a:ext uri="{FF2B5EF4-FFF2-40B4-BE49-F238E27FC236}">
                <a16:creationId xmlns:a16="http://schemas.microsoft.com/office/drawing/2014/main" id="{8BAA7AEE-3A17-4BAD-87C4-799A7CAEB74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9E1C90E7-4304-424C-95B5-64A080E8AB2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329414" y="1515080"/>
            <a:ext cx="60337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CD50DB43-4381-4280-BD30-3F2D03943DC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329414" y="1512417"/>
            <a:ext cx="2205681" cy="956770"/>
            <a:chOff x="6462419" y="1469144"/>
            <a:chExt cx="3502394" cy="342705"/>
          </a:xfrm>
        </p:grpSpPr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B3B0E30F-002B-40DE-B9DB-7F2EEC6B8F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4">
              <a:extLst>
                <a:ext uri="{FF2B5EF4-FFF2-40B4-BE49-F238E27FC236}">
                  <a16:creationId xmlns:a16="http://schemas.microsoft.com/office/drawing/2014/main" id="{4C2423A0-AB99-4937-8295-CF587BC4CC9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240208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649162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70C40608-29A3-4D54-8EEB-87D9DD08088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ACBC61F-7193-4042-A722-97DD5C22269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B3AD3221-9CE7-4C80-AADB-B583318C82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315C5485-8FED-45C6-9D30-595758D6D73F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1126A6FB-F393-4729-99A8-4EE7CD42A5D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F0383A7D-E2E4-4AD9-AC1F-CD7F05F94EA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2CE1265-C77E-4A6C-B78F-727C5DA8A469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F36B8890-1870-426A-AA7C-CD5FD6505DD5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90F154DF-E227-4E82-BF65-DB0618F6E795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5D50BA3F-6114-4F3C-AFA8-D8160F5F63EB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0AB4BFED-4152-4553-9CBF-24FA49E37F63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9817265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807016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0E5F2084-3777-4747-97E9-5BE4C949724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E4B9A57-D0E0-416E-8486-CA64A8110AF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70A89703-A122-4FC0-94C5-628BC70FCC1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0975CA99-E77F-48B0-B458-5CC69F5035E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2723A17D-3C23-4675-BE86-3CC4CFBBBEA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9823C282-BE04-4B35-835F-5CF5F7AB1FE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1C496BC8-87AB-4C14-9075-EAD428272BA0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1A93341D-1F30-4C2C-A55B-23B39254EFD8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50B0D14C-E46A-4748-857A-C8F11850CABE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F061476E-1ADD-4E3C-8D17-A42B82A6205A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AEA798E2-F5B0-4E2C-A67D-8F82C74B5CEF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9142442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307610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089EA8CE-CFA4-4898-B8AA-0AC5CFBEC06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9CCAB84-A750-4179-B9D2-B529201FA1E2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79AF513C-D967-4527-95E0-8AC52CF72E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45B23B69-E39D-4CB1-B631-B037C2E4B1C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99BF48B7-377F-49A2-93C7-7E6883A8DBF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2617FD4A-51A0-4B2E-B694-F02519E6403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D86641B-7AB4-4266-8978-BCF34D50E960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06A7A93B-5C58-4624-BA12-1008B04FA553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CBAD730B-992F-46AD-B9BD-7336C68FC90E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E13075CF-267F-46A9-9ADB-50CFBCD8C166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53292F99-9BD4-4459-963B-52CE7F7D3010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6551170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2465118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856DEA10-B281-4224-A221-CCEA1D927ED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FBA8074E-5EAA-439B-93C6-F614415B3B4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F41AB538-FA73-462B-BC5D-73F2B93A5C9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8918E58C-DA32-42B3-91AB-2B97F69C0AC7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ovéPole 27">
              <a:extLst>
                <a:ext uri="{FF2B5EF4-FFF2-40B4-BE49-F238E27FC236}">
                  <a16:creationId xmlns:a16="http://schemas.microsoft.com/office/drawing/2014/main" id="{5A91CE18-95B1-47DC-ADF0-A7D063B53004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A23F7663-5D94-49F0-B29E-2E1FEAB6902D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AD762A2C-B09F-4AC7-8386-97008C7C586C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1" name="TextBox 14">
            <a:extLst>
              <a:ext uri="{FF2B5EF4-FFF2-40B4-BE49-F238E27FC236}">
                <a16:creationId xmlns:a16="http://schemas.microsoft.com/office/drawing/2014/main" id="{F2D27D25-FB52-4FCF-9A79-93B84224AC6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D68E92AF-C926-4E67-B590-13B58A7F962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329414" y="1515080"/>
            <a:ext cx="60337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1D108C15-7F17-4368-8DD4-C4228958B05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329414" y="1512417"/>
            <a:ext cx="2205681" cy="956770"/>
            <a:chOff x="6462419" y="1469144"/>
            <a:chExt cx="3502394" cy="342705"/>
          </a:xfrm>
        </p:grpSpPr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5317C1DA-7D50-4590-95BC-BDF29F55E6E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4">
              <a:extLst>
                <a:ext uri="{FF2B5EF4-FFF2-40B4-BE49-F238E27FC236}">
                  <a16:creationId xmlns:a16="http://schemas.microsoft.com/office/drawing/2014/main" id="{E56B66EE-6487-49FE-A788-C152DEADB91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711758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5078932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172B01FC-FE55-4F39-860D-8FB55D242C3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332E3A53-6B40-4D72-8B67-8841E3A701E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E91631F-40FC-45C5-B1F9-1826D5D88675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6E10E9F3-27FB-4DAE-A7F4-B1C8544B7D90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ovéPole 27">
              <a:extLst>
                <a:ext uri="{FF2B5EF4-FFF2-40B4-BE49-F238E27FC236}">
                  <a16:creationId xmlns:a16="http://schemas.microsoft.com/office/drawing/2014/main" id="{5501859C-A960-42D9-B5D1-21606ACB2B7B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22864A01-E1ED-4C48-9E2B-437302883547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A6380036-9FFD-4D08-B640-E095D0E6924F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1" name="TextBox 14">
            <a:extLst>
              <a:ext uri="{FF2B5EF4-FFF2-40B4-BE49-F238E27FC236}">
                <a16:creationId xmlns:a16="http://schemas.microsoft.com/office/drawing/2014/main" id="{072D3F68-5F64-45E9-9E4E-92F2E5CB17A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C48FD792-2E6F-4D6B-B46C-A834531DA44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329414" y="1515080"/>
            <a:ext cx="60337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9CA57F32-A079-4665-A17C-402B7B9ED70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329414" y="1512417"/>
            <a:ext cx="2205681" cy="956770"/>
            <a:chOff x="6462419" y="1469144"/>
            <a:chExt cx="3502394" cy="342705"/>
          </a:xfrm>
        </p:grpSpPr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452E70CB-2691-4960-AC23-2B9B7829D38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4">
              <a:extLst>
                <a:ext uri="{FF2B5EF4-FFF2-40B4-BE49-F238E27FC236}">
                  <a16:creationId xmlns:a16="http://schemas.microsoft.com/office/drawing/2014/main" id="{CC103887-14C3-4967-AFF5-C673157607D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1322330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ň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7098286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B0152364-02A8-4C29-9014-AAC2C548897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FC404AA-FBA4-4440-9F8A-8025C89F1D9E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6309353E-2833-4E4B-9785-3324318D250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AD2BD473-7E03-4CC4-9686-BF1BACA0EDBA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ovéPole 27">
              <a:extLst>
                <a:ext uri="{FF2B5EF4-FFF2-40B4-BE49-F238E27FC236}">
                  <a16:creationId xmlns:a16="http://schemas.microsoft.com/office/drawing/2014/main" id="{290A684B-8AB7-48C8-B5FC-937C3609709C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CB7B7F65-054B-48C7-8D04-BB14B955C8FC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636F8F38-348F-470B-8EC9-BB6F2797CD65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1" name="TextBox 14">
            <a:extLst>
              <a:ext uri="{FF2B5EF4-FFF2-40B4-BE49-F238E27FC236}">
                <a16:creationId xmlns:a16="http://schemas.microsoft.com/office/drawing/2014/main" id="{15811B1E-6F1A-432D-AED4-E4FF79ACB7C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B150DFDD-4170-4D4C-B85E-80DF506712A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329414" y="1515080"/>
            <a:ext cx="60337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5583EA09-0741-448B-BB4D-DE2ABD9FAF4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329414" y="1512417"/>
            <a:ext cx="2205681" cy="956770"/>
            <a:chOff x="6462419" y="1469144"/>
            <a:chExt cx="3502394" cy="342705"/>
          </a:xfrm>
        </p:grpSpPr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0E2BA655-5039-42E0-94DA-28724F31C65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4">
              <a:extLst>
                <a:ext uri="{FF2B5EF4-FFF2-40B4-BE49-F238E27FC236}">
                  <a16:creationId xmlns:a16="http://schemas.microsoft.com/office/drawing/2014/main" id="{28426171-1B10-4312-9E59-E263048C620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952211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1488472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1C6692E8-0538-40ED-ACB4-CDBEFBF76A4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D94E7033-0ADF-41BA-978F-2EE07BF2DAA0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446C4060-9B2D-48C6-9F03-1DBFD63CACD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9A814472-7BD6-4F8C-B313-6250FF648056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ovéPole 27">
              <a:extLst>
                <a:ext uri="{FF2B5EF4-FFF2-40B4-BE49-F238E27FC236}">
                  <a16:creationId xmlns:a16="http://schemas.microsoft.com/office/drawing/2014/main" id="{483264F8-27CD-43BE-A973-A87E9FE14D87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D7FBC40B-F2E2-4FEE-9FDB-08BC78639910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333EB703-C05C-4AFF-8CD7-5621E862BF60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1" name="TextBox 14">
            <a:extLst>
              <a:ext uri="{FF2B5EF4-FFF2-40B4-BE49-F238E27FC236}">
                <a16:creationId xmlns:a16="http://schemas.microsoft.com/office/drawing/2014/main" id="{C857B7E5-81BA-4D8B-AF32-DD2154C055E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1464014C-DA5C-4206-A53C-E84264B8F74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329414" y="1515080"/>
            <a:ext cx="60337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33" name="Skupina 32">
            <a:extLst>
              <a:ext uri="{FF2B5EF4-FFF2-40B4-BE49-F238E27FC236}">
                <a16:creationId xmlns:a16="http://schemas.microsoft.com/office/drawing/2014/main" id="{9B65A807-6285-4699-B16C-1047ACC03A6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329414" y="1512417"/>
            <a:ext cx="2205681" cy="956770"/>
            <a:chOff x="6462419" y="1469144"/>
            <a:chExt cx="3502394" cy="342705"/>
          </a:xfrm>
        </p:grpSpPr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45864FF1-6D96-4002-BFC8-D8077033E73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4">
              <a:extLst>
                <a:ext uri="{FF2B5EF4-FFF2-40B4-BE49-F238E27FC236}">
                  <a16:creationId xmlns:a16="http://schemas.microsoft.com/office/drawing/2014/main" id="{97E589CC-6D5A-40CE-80D9-2060B5E1F73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3320332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26282907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8047A9DC-C59E-4BC4-88B2-40694C0EAE7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97437BB3-16AB-4041-9C19-57BC1E7509A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3302EB98-2144-4D48-9646-01F4CCE0165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9FF7D2D8-DFF3-4FD8-8305-D4F03AE5CD7E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ovéPole 27">
              <a:extLst>
                <a:ext uri="{FF2B5EF4-FFF2-40B4-BE49-F238E27FC236}">
                  <a16:creationId xmlns:a16="http://schemas.microsoft.com/office/drawing/2014/main" id="{4A172082-20BB-41D1-965D-7A920A09E4BD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2FAE61F-C440-4CFA-A6E1-DB190F3F534C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1264CA4E-54E9-464C-BAC4-0454E9CF15E4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1" name="TextBox 14">
            <a:extLst>
              <a:ext uri="{FF2B5EF4-FFF2-40B4-BE49-F238E27FC236}">
                <a16:creationId xmlns:a16="http://schemas.microsoft.com/office/drawing/2014/main" id="{4E9906F6-C81C-4D1F-A509-012D25645D9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610EAB95-5C22-4008-B1D8-83BFECB85B7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329414" y="1515080"/>
            <a:ext cx="60337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D86FEF8C-6D49-4336-A0C2-077406A9B54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329414" y="1512417"/>
            <a:ext cx="2205681" cy="956770"/>
            <a:chOff x="6462419" y="1469144"/>
            <a:chExt cx="3502394" cy="342705"/>
          </a:xfrm>
        </p:grpSpPr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C42A4E26-3FC1-4A66-BD81-0C8BB59167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4">
              <a:extLst>
                <a:ext uri="{FF2B5EF4-FFF2-40B4-BE49-F238E27FC236}">
                  <a16:creationId xmlns:a16="http://schemas.microsoft.com/office/drawing/2014/main" id="{BA821A1C-DCD3-4D2B-84E6-09AB03A05DF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2231445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4107743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91077FC4-7F11-4BCC-8701-D17120F77FD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4D3F720-1062-493A-A643-751325ED406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67E77E2F-4F27-4EE1-A01E-4617C256FDDD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B9F61657-A725-4B64-AD8D-98E94480B9F9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ovéPole 27">
              <a:extLst>
                <a:ext uri="{FF2B5EF4-FFF2-40B4-BE49-F238E27FC236}">
                  <a16:creationId xmlns:a16="http://schemas.microsoft.com/office/drawing/2014/main" id="{D0D31506-E9E3-49CA-AC24-BF0401238CC0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F4D680CC-A964-471F-B2E7-C9B19D9EDE05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8A4199B-FEC4-49D2-8986-F4685A0C1753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1" name="TextBox 14">
            <a:extLst>
              <a:ext uri="{FF2B5EF4-FFF2-40B4-BE49-F238E27FC236}">
                <a16:creationId xmlns:a16="http://schemas.microsoft.com/office/drawing/2014/main" id="{A7C3FBCF-F636-4826-8062-AEF259F2D8B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95F9855A-4AFC-473E-9564-91BCC3F4C9A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329414" y="1515080"/>
            <a:ext cx="60337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B124BD02-42C0-4860-854E-FB514EC3449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329414" y="1512417"/>
            <a:ext cx="2205681" cy="956770"/>
            <a:chOff x="6462419" y="1469144"/>
            <a:chExt cx="3502394" cy="342705"/>
          </a:xfrm>
        </p:grpSpPr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A52FD17B-3273-4B82-A0A6-B0F149938F8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4">
              <a:extLst>
                <a:ext uri="{FF2B5EF4-FFF2-40B4-BE49-F238E27FC236}">
                  <a16:creationId xmlns:a16="http://schemas.microsoft.com/office/drawing/2014/main" id="{40A14B4A-CB72-4550-888D-C48B7D02B4E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972673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95</TotalTime>
  <Words>3157</Words>
  <Application>Microsoft Office PowerPoint</Application>
  <PresentationFormat>Širokoúhlá obrazovka</PresentationFormat>
  <Paragraphs>304</Paragraphs>
  <Slides>32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KKIP03</vt:lpstr>
      <vt:lpstr>8_Motiv Office</vt:lpstr>
      <vt:lpstr>Epidemie COVID-19 v ČR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Epidemie COVID-19 v ČR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511</cp:revision>
  <dcterms:created xsi:type="dcterms:W3CDTF">2021-03-07T17:05:03Z</dcterms:created>
  <dcterms:modified xsi:type="dcterms:W3CDTF">2022-03-06T15:32:20Z</dcterms:modified>
</cp:coreProperties>
</file>